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layout1.xml" ContentType="application/vnd.openxmlformats-officedocument.drawingml.diagramLayou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6"/>
  </p:notesMasterIdLst>
  <p:handoutMasterIdLst>
    <p:handoutMasterId r:id="rId7"/>
  </p:handoutMasterIdLst>
  <p:sldIdLst>
    <p:sldId id="612" r:id="rId2"/>
    <p:sldId id="615" r:id="rId3"/>
    <p:sldId id="613" r:id="rId4"/>
    <p:sldId id="614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onrad Schwarz" initials="KA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  <a:srgbClr val="55A0B9"/>
    <a:srgbClr val="E6E65F"/>
    <a:srgbClr val="AFD7E1"/>
    <a:srgbClr val="EB780A"/>
    <a:srgbClr val="FFB900"/>
    <a:srgbClr val="641946"/>
    <a:srgbClr val="AF235F"/>
    <a:srgbClr val="006487"/>
    <a:srgbClr val="647D2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298" autoAdjust="0"/>
    <p:restoredTop sz="89789" autoAdjust="0"/>
  </p:normalViewPr>
  <p:slideViewPr>
    <p:cSldViewPr snapToGrid="0" snapToObjects="1">
      <p:cViewPr varScale="1">
        <p:scale>
          <a:sx n="135" d="100"/>
          <a:sy n="135" d="100"/>
        </p:scale>
        <p:origin x="-1290" y="-78"/>
      </p:cViewPr>
      <p:guideLst>
        <p:guide orient="horz" pos="618"/>
        <p:guide orient="horz" pos="2455"/>
        <p:guide orient="horz" pos="2546"/>
        <p:guide orient="horz" pos="3884"/>
        <p:guide orient="horz" pos="890"/>
        <p:guide orient="horz" pos="1116"/>
        <p:guide orient="horz" pos="4088"/>
        <p:guide orient="horz" pos="4232"/>
        <p:guide orient="horz" pos="3635"/>
        <p:guide pos="340"/>
        <p:guide pos="2880"/>
        <p:guide pos="2971"/>
        <p:guide pos="5511"/>
        <p:guide pos="158"/>
        <p:guide pos="46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 varScale="1">
        <p:scale>
          <a:sx n="82" d="100"/>
          <a:sy n="82" d="100"/>
        </p:scale>
        <p:origin x="-3180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351867-216E-464A-B419-F8CCD4144F5B}" type="doc">
      <dgm:prSet loTypeId="urn:microsoft.com/office/officeart/2005/8/layout/cycle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9D543DE-20E5-4A1F-A586-346EFD27C65D}">
      <dgm:prSet phldrT="[Text]" custT="1"/>
      <dgm:spPr/>
      <dgm:t>
        <a:bodyPr anchor="t" anchorCtr="0"/>
        <a:lstStyle/>
        <a:p>
          <a:pPr algn="l"/>
          <a:r>
            <a:rPr lang="en-US" sz="1400" dirty="0" smtClean="0"/>
            <a:t>Enable development with SOA based architecture</a:t>
          </a:r>
        </a:p>
      </dgm:t>
    </dgm:pt>
    <dgm:pt modelId="{C380ABA5-FB3A-42AD-93E8-F9C741CCEDC9}" type="parTrans" cxnId="{D0FDC6E0-1FF1-4CCF-B1EE-9206C1186BC9}">
      <dgm:prSet/>
      <dgm:spPr/>
      <dgm:t>
        <a:bodyPr/>
        <a:lstStyle/>
        <a:p>
          <a:endParaRPr lang="en-US"/>
        </a:p>
      </dgm:t>
    </dgm:pt>
    <dgm:pt modelId="{41C638E2-29FB-48BF-BF39-78D0CFE325B8}" type="sibTrans" cxnId="{D0FDC6E0-1FF1-4CCF-B1EE-9206C1186BC9}">
      <dgm:prSet/>
      <dgm:spPr/>
      <dgm:t>
        <a:bodyPr/>
        <a:lstStyle/>
        <a:p>
          <a:endParaRPr lang="en-US"/>
        </a:p>
      </dgm:t>
    </dgm:pt>
    <dgm:pt modelId="{AB29AF44-B9A1-4765-B999-F8F87B2EB08D}">
      <dgm:prSet phldrT="[Text]" custT="1"/>
      <dgm:spPr/>
      <dgm:t>
        <a:bodyPr/>
        <a:lstStyle/>
        <a:p>
          <a:r>
            <a:rPr lang="en-US" sz="1400" dirty="0" smtClean="0"/>
            <a:t>Standard SOA based development </a:t>
          </a:r>
          <a:r>
            <a:rPr lang="en-US" sz="1400" dirty="0" smtClean="0"/>
            <a:t>model using SCA</a:t>
          </a:r>
          <a:endParaRPr lang="en-US" sz="1400" dirty="0"/>
        </a:p>
      </dgm:t>
    </dgm:pt>
    <dgm:pt modelId="{B60998E7-B823-4EEA-A380-71BD68B2EC8C}" type="parTrans" cxnId="{850656A7-CA86-4C24-8541-2CC4B9087DF2}">
      <dgm:prSet/>
      <dgm:spPr/>
      <dgm:t>
        <a:bodyPr/>
        <a:lstStyle/>
        <a:p>
          <a:endParaRPr lang="en-US"/>
        </a:p>
      </dgm:t>
    </dgm:pt>
    <dgm:pt modelId="{E2BFC306-8E91-44A4-82C8-6FAA4AF80CE4}" type="sibTrans" cxnId="{850656A7-CA86-4C24-8541-2CC4B9087DF2}">
      <dgm:prSet/>
      <dgm:spPr/>
      <dgm:t>
        <a:bodyPr/>
        <a:lstStyle/>
        <a:p>
          <a:endParaRPr lang="en-US"/>
        </a:p>
      </dgm:t>
    </dgm:pt>
    <dgm:pt modelId="{6D0CC672-B134-4304-889E-2500F8D1634F}">
      <dgm:prSet phldrT="[Text]" custT="1"/>
      <dgm:spPr/>
      <dgm:t>
        <a:bodyPr/>
        <a:lstStyle/>
        <a:p>
          <a:r>
            <a:rPr lang="en-US" sz="1400" dirty="0" smtClean="0"/>
            <a:t>Enable vertical integration</a:t>
          </a:r>
        </a:p>
        <a:p>
          <a:endParaRPr lang="en-US" sz="1400" dirty="0" smtClean="0"/>
        </a:p>
        <a:p>
          <a:endParaRPr lang="en-US" sz="1400" dirty="0"/>
        </a:p>
      </dgm:t>
    </dgm:pt>
    <dgm:pt modelId="{35BF159F-82C8-4C31-84BB-B98E72556C24}" type="parTrans" cxnId="{32E7BB31-7F69-4C5C-9431-CB477A8E283E}">
      <dgm:prSet/>
      <dgm:spPr/>
      <dgm:t>
        <a:bodyPr/>
        <a:lstStyle/>
        <a:p>
          <a:endParaRPr lang="en-US"/>
        </a:p>
      </dgm:t>
    </dgm:pt>
    <dgm:pt modelId="{FEB690BF-EBAB-4DAD-B34D-19D022FE8C90}" type="sibTrans" cxnId="{32E7BB31-7F69-4C5C-9431-CB477A8E283E}">
      <dgm:prSet/>
      <dgm:spPr/>
      <dgm:t>
        <a:bodyPr/>
        <a:lstStyle/>
        <a:p>
          <a:endParaRPr lang="en-US"/>
        </a:p>
      </dgm:t>
    </dgm:pt>
    <dgm:pt modelId="{54902B56-D116-4BEC-BF4D-758E5488C3BE}">
      <dgm:prSet phldrT="[Text]" custT="1"/>
      <dgm:spPr/>
      <dgm:t>
        <a:bodyPr/>
        <a:lstStyle/>
        <a:p>
          <a:r>
            <a:rPr lang="en-US" sz="1400" dirty="0" smtClean="0"/>
            <a:t>Simplify application management</a:t>
          </a:r>
          <a:endParaRPr lang="en-US" sz="1400" dirty="0"/>
        </a:p>
      </dgm:t>
    </dgm:pt>
    <dgm:pt modelId="{1BD8FAE9-E260-41DD-9E7B-617671E5FDA7}" type="parTrans" cxnId="{1A380437-D45A-4B67-ADE1-D19E3CD65AE0}">
      <dgm:prSet/>
      <dgm:spPr/>
      <dgm:t>
        <a:bodyPr/>
        <a:lstStyle/>
        <a:p>
          <a:endParaRPr lang="en-US"/>
        </a:p>
      </dgm:t>
    </dgm:pt>
    <dgm:pt modelId="{A4B71562-FDF5-42FD-BCD6-4E019CF72B1A}" type="sibTrans" cxnId="{1A380437-D45A-4B67-ADE1-D19E3CD65AE0}">
      <dgm:prSet/>
      <dgm:spPr/>
      <dgm:t>
        <a:bodyPr/>
        <a:lstStyle/>
        <a:p>
          <a:endParaRPr lang="en-US"/>
        </a:p>
      </dgm:t>
    </dgm:pt>
    <dgm:pt modelId="{161C6DE5-0BCF-4CC4-AF5A-24D99BA0877B}">
      <dgm:prSet phldrT="[Text]" custT="1"/>
      <dgm:spPr/>
      <dgm:t>
        <a:bodyPr/>
        <a:lstStyle/>
        <a:p>
          <a:r>
            <a:rPr lang="en-US" sz="1200" dirty="0" smtClean="0"/>
            <a:t>Configurable </a:t>
          </a:r>
          <a:r>
            <a:rPr lang="en-US" sz="1200" dirty="0" smtClean="0"/>
            <a:t>monitoring </a:t>
          </a:r>
          <a:r>
            <a:rPr lang="en-US" sz="1200" dirty="0" smtClean="0"/>
            <a:t>of applications</a:t>
          </a:r>
          <a:endParaRPr lang="en-US" sz="1200" dirty="0"/>
        </a:p>
      </dgm:t>
    </dgm:pt>
    <dgm:pt modelId="{6A436F21-F6EA-40DA-8374-9C6D2419F9B9}" type="parTrans" cxnId="{0AE96A78-B7F0-4E6C-BF9A-B4EE8B3F36DF}">
      <dgm:prSet/>
      <dgm:spPr/>
      <dgm:t>
        <a:bodyPr/>
        <a:lstStyle/>
        <a:p>
          <a:endParaRPr lang="en-US"/>
        </a:p>
      </dgm:t>
    </dgm:pt>
    <dgm:pt modelId="{6F7F2F1D-D815-47FC-9017-548346AB9E31}" type="sibTrans" cxnId="{0AE96A78-B7F0-4E6C-BF9A-B4EE8B3F36DF}">
      <dgm:prSet/>
      <dgm:spPr/>
      <dgm:t>
        <a:bodyPr/>
        <a:lstStyle/>
        <a:p>
          <a:endParaRPr lang="en-US"/>
        </a:p>
      </dgm:t>
    </dgm:pt>
    <dgm:pt modelId="{8408F95D-85F0-4E21-848A-E7128808F515}">
      <dgm:prSet phldrT="[Text]" custT="1"/>
      <dgm:spPr>
        <a:solidFill>
          <a:schemeClr val="accent1">
            <a:hueOff val="0"/>
            <a:satOff val="0"/>
            <a:lumOff val="0"/>
          </a:schemeClr>
        </a:solidFill>
      </dgm:spPr>
      <dgm:t>
        <a:bodyPr/>
        <a:lstStyle/>
        <a:p>
          <a:endParaRPr lang="en-US" sz="1400" dirty="0" smtClean="0"/>
        </a:p>
        <a:p>
          <a:r>
            <a:rPr lang="en-US" sz="1400" dirty="0" smtClean="0"/>
            <a:t>Simplify integration testing</a:t>
          </a:r>
        </a:p>
        <a:p>
          <a:endParaRPr lang="en-US" sz="1400" dirty="0"/>
        </a:p>
      </dgm:t>
    </dgm:pt>
    <dgm:pt modelId="{A55FF0D7-46F7-4181-BE60-A11AB8201ACA}" type="parTrans" cxnId="{2D801F1C-2909-4D4A-8826-FDB614DDB3EC}">
      <dgm:prSet/>
      <dgm:spPr/>
      <dgm:t>
        <a:bodyPr/>
        <a:lstStyle/>
        <a:p>
          <a:endParaRPr lang="en-US"/>
        </a:p>
      </dgm:t>
    </dgm:pt>
    <dgm:pt modelId="{9760EFE7-7C5D-4197-B27C-9AF0C88D0C94}" type="sibTrans" cxnId="{2D801F1C-2909-4D4A-8826-FDB614DDB3EC}">
      <dgm:prSet/>
      <dgm:spPr/>
      <dgm:t>
        <a:bodyPr/>
        <a:lstStyle/>
        <a:p>
          <a:endParaRPr lang="en-US"/>
        </a:p>
      </dgm:t>
    </dgm:pt>
    <dgm:pt modelId="{C29C8DE7-B142-496C-8C16-7EA354FAE9A5}">
      <dgm:prSet phldrT="[Text]" custT="1"/>
      <dgm:spPr/>
      <dgm:t>
        <a:bodyPr/>
        <a:lstStyle/>
        <a:p>
          <a:endParaRPr lang="en-US" sz="1400" dirty="0"/>
        </a:p>
      </dgm:t>
    </dgm:pt>
    <dgm:pt modelId="{2549D123-4F86-497F-9ED2-A1A56D56CFC0}" type="parTrans" cxnId="{6D75818E-9F08-486D-BBF4-8072169F8188}">
      <dgm:prSet/>
      <dgm:spPr/>
      <dgm:t>
        <a:bodyPr/>
        <a:lstStyle/>
        <a:p>
          <a:endParaRPr lang="en-US"/>
        </a:p>
      </dgm:t>
    </dgm:pt>
    <dgm:pt modelId="{50CFE311-A050-4FAD-99DF-09D0DD125A47}" type="sibTrans" cxnId="{6D75818E-9F08-486D-BBF4-8072169F8188}">
      <dgm:prSet/>
      <dgm:spPr/>
      <dgm:t>
        <a:bodyPr/>
        <a:lstStyle/>
        <a:p>
          <a:endParaRPr lang="en-US"/>
        </a:p>
      </dgm:t>
    </dgm:pt>
    <dgm:pt modelId="{4B63D359-5856-4F07-9EF5-E4AF59FD9D23}">
      <dgm:prSet phldrT="[Text]" custT="1"/>
      <dgm:spPr/>
      <dgm:t>
        <a:bodyPr/>
        <a:lstStyle/>
        <a:p>
          <a:r>
            <a:rPr lang="en-US" sz="1400" dirty="0" smtClean="0"/>
            <a:t>Advanced component lifecycle </a:t>
          </a:r>
          <a:r>
            <a:rPr lang="en-US" sz="1400" dirty="0" smtClean="0"/>
            <a:t>management ( e.g. heartbeats)</a:t>
          </a:r>
          <a:endParaRPr lang="en-US" sz="1400" dirty="0"/>
        </a:p>
      </dgm:t>
    </dgm:pt>
    <dgm:pt modelId="{FBD7D0B5-1D53-4166-9CA9-EB8B0B863D95}" type="parTrans" cxnId="{7221DF95-0DB2-48A2-A4BF-EB17930223F8}">
      <dgm:prSet/>
      <dgm:spPr/>
      <dgm:t>
        <a:bodyPr/>
        <a:lstStyle/>
        <a:p>
          <a:endParaRPr lang="en-US"/>
        </a:p>
      </dgm:t>
    </dgm:pt>
    <dgm:pt modelId="{AF133862-DC1C-408E-8858-65F797495828}" type="sibTrans" cxnId="{7221DF95-0DB2-48A2-A4BF-EB17930223F8}">
      <dgm:prSet/>
      <dgm:spPr/>
      <dgm:t>
        <a:bodyPr/>
        <a:lstStyle/>
        <a:p>
          <a:endParaRPr lang="en-US"/>
        </a:p>
      </dgm:t>
    </dgm:pt>
    <dgm:pt modelId="{7CCFDB6F-6C39-4C38-8A4A-A3625883E039}">
      <dgm:prSet phldrT="[Text]" custT="1"/>
      <dgm:spPr/>
      <dgm:t>
        <a:bodyPr/>
        <a:lstStyle/>
        <a:p>
          <a:r>
            <a:rPr lang="en-US" sz="1400" dirty="0" smtClean="0"/>
            <a:t>Enable plugging in variety of industry protocols</a:t>
          </a:r>
          <a:endParaRPr lang="en-US" sz="1400" dirty="0"/>
        </a:p>
      </dgm:t>
    </dgm:pt>
    <dgm:pt modelId="{0AD50FFF-C684-4499-8594-A5AB15E33A3C}" type="sibTrans" cxnId="{8702D31B-D8B9-45B1-9FA5-715D1232DBB7}">
      <dgm:prSet/>
      <dgm:spPr/>
      <dgm:t>
        <a:bodyPr/>
        <a:lstStyle/>
        <a:p>
          <a:endParaRPr lang="en-US"/>
        </a:p>
      </dgm:t>
    </dgm:pt>
    <dgm:pt modelId="{99EB3CA1-E7C2-462A-B1AD-D5FFAE8631AD}" type="parTrans" cxnId="{8702D31B-D8B9-45B1-9FA5-715D1232DBB7}">
      <dgm:prSet/>
      <dgm:spPr/>
      <dgm:t>
        <a:bodyPr/>
        <a:lstStyle/>
        <a:p>
          <a:endParaRPr lang="en-US"/>
        </a:p>
      </dgm:t>
    </dgm:pt>
    <dgm:pt modelId="{8D077D4F-1D0C-4174-90A5-037BC0E6A25B}">
      <dgm:prSet phldrT="[Text]" custT="1"/>
      <dgm:spPr/>
      <dgm:t>
        <a:bodyPr/>
        <a:lstStyle/>
        <a:p>
          <a:r>
            <a:rPr lang="en-US" sz="1400" dirty="0" smtClean="0"/>
            <a:t>Out of the box test framework</a:t>
          </a:r>
          <a:endParaRPr lang="en-US" sz="1400" dirty="0"/>
        </a:p>
      </dgm:t>
    </dgm:pt>
    <dgm:pt modelId="{3555DB38-C39D-447A-BCAC-67512BE1F78A}" type="sibTrans" cxnId="{CE0489DF-A78A-42DC-AB18-31CC502C3866}">
      <dgm:prSet/>
      <dgm:spPr/>
      <dgm:t>
        <a:bodyPr/>
        <a:lstStyle/>
        <a:p>
          <a:endParaRPr lang="en-US"/>
        </a:p>
      </dgm:t>
    </dgm:pt>
    <dgm:pt modelId="{A2D51D9F-36CC-4975-814C-5E664CC3ABBB}" type="parTrans" cxnId="{CE0489DF-A78A-42DC-AB18-31CC502C3866}">
      <dgm:prSet/>
      <dgm:spPr/>
      <dgm:t>
        <a:bodyPr/>
        <a:lstStyle/>
        <a:p>
          <a:endParaRPr lang="en-US"/>
        </a:p>
      </dgm:t>
    </dgm:pt>
    <dgm:pt modelId="{907AC313-DBBF-4FD1-9A2F-CF8604BD7617}">
      <dgm:prSet phldrT="[Text]" custT="1"/>
      <dgm:spPr/>
      <dgm:t>
        <a:bodyPr/>
        <a:lstStyle/>
        <a:p>
          <a:r>
            <a:rPr lang="en-US" sz="1200" dirty="0" smtClean="0"/>
            <a:t>Deploy, start, stop , remove applications</a:t>
          </a:r>
          <a:endParaRPr lang="en-US" sz="1200" dirty="0"/>
        </a:p>
      </dgm:t>
    </dgm:pt>
    <dgm:pt modelId="{68C83008-7BEF-4F3F-A69E-1C66062BF61D}" type="parTrans" cxnId="{4AD9C14D-CE2E-4334-9F86-25A3032AB6B4}">
      <dgm:prSet/>
      <dgm:spPr/>
      <dgm:t>
        <a:bodyPr/>
        <a:lstStyle/>
        <a:p>
          <a:endParaRPr lang="en-US"/>
        </a:p>
      </dgm:t>
    </dgm:pt>
    <dgm:pt modelId="{1A35A36D-9E32-4FB2-B9DA-CE9490329732}" type="sibTrans" cxnId="{4AD9C14D-CE2E-4334-9F86-25A3032AB6B4}">
      <dgm:prSet/>
      <dgm:spPr/>
      <dgm:t>
        <a:bodyPr/>
        <a:lstStyle/>
        <a:p>
          <a:endParaRPr lang="en-US"/>
        </a:p>
      </dgm:t>
    </dgm:pt>
    <dgm:pt modelId="{D02C4719-F0FA-4084-A737-C2B0E19F0EA9}">
      <dgm:prSet phldrT="[Text]" custT="1"/>
      <dgm:spPr/>
      <dgm:t>
        <a:bodyPr/>
        <a:lstStyle/>
        <a:p>
          <a:endParaRPr lang="en-US" sz="1400" dirty="0"/>
        </a:p>
      </dgm:t>
    </dgm:pt>
    <dgm:pt modelId="{8006C27F-F79A-4F30-928E-6B883E509D4D}" type="parTrans" cxnId="{4C000F6C-98DF-4545-8941-61451974412C}">
      <dgm:prSet/>
      <dgm:spPr/>
      <dgm:t>
        <a:bodyPr/>
        <a:lstStyle/>
        <a:p>
          <a:endParaRPr lang="en-US"/>
        </a:p>
      </dgm:t>
    </dgm:pt>
    <dgm:pt modelId="{C3F9F221-505D-42EE-B789-84B684BC900F}" type="sibTrans" cxnId="{4C000F6C-98DF-4545-8941-61451974412C}">
      <dgm:prSet/>
      <dgm:spPr/>
      <dgm:t>
        <a:bodyPr/>
        <a:lstStyle/>
        <a:p>
          <a:endParaRPr lang="en-US"/>
        </a:p>
      </dgm:t>
    </dgm:pt>
    <dgm:pt modelId="{AE108CDF-4C82-4603-BC1A-25D611DDCB0F}">
      <dgm:prSet phldrT="[Text]" custT="1"/>
      <dgm:spPr/>
      <dgm:t>
        <a:bodyPr/>
        <a:lstStyle/>
        <a:p>
          <a:r>
            <a:rPr lang="en-US" sz="1400" dirty="0" smtClean="0"/>
            <a:t>Simplify </a:t>
          </a:r>
          <a:r>
            <a:rPr lang="en-US" sz="1400" dirty="0" smtClean="0"/>
            <a:t>reusability of services and resources</a:t>
          </a:r>
          <a:endParaRPr lang="en-US" sz="1400" dirty="0"/>
        </a:p>
      </dgm:t>
    </dgm:pt>
    <dgm:pt modelId="{732F88F8-3872-490F-8DB6-5603A8DC310E}" type="parTrans" cxnId="{DD8C4B5F-64BB-49EC-BE55-F32E01336A24}">
      <dgm:prSet/>
      <dgm:spPr/>
      <dgm:t>
        <a:bodyPr/>
        <a:lstStyle/>
        <a:p>
          <a:endParaRPr lang="en-US"/>
        </a:p>
      </dgm:t>
    </dgm:pt>
    <dgm:pt modelId="{A6094445-1179-4285-87C3-4B9D688FCAC8}" type="sibTrans" cxnId="{DD8C4B5F-64BB-49EC-BE55-F32E01336A24}">
      <dgm:prSet/>
      <dgm:spPr/>
      <dgm:t>
        <a:bodyPr/>
        <a:lstStyle/>
        <a:p>
          <a:endParaRPr lang="en-US"/>
        </a:p>
      </dgm:t>
    </dgm:pt>
    <dgm:pt modelId="{AA5CB0CB-7D97-4A6F-B28C-99C11B65CBF3}">
      <dgm:prSet phldrT="[Text]" custT="1"/>
      <dgm:spPr/>
      <dgm:t>
        <a:bodyPr/>
        <a:lstStyle/>
        <a:p>
          <a:r>
            <a:rPr lang="en-US" sz="1200" dirty="0" smtClean="0"/>
            <a:t>Service discovery support</a:t>
          </a:r>
          <a:endParaRPr lang="en-US" sz="1200" dirty="0"/>
        </a:p>
      </dgm:t>
    </dgm:pt>
    <dgm:pt modelId="{1F946E7F-0F2B-4D5F-8479-0B98C161E728}" type="parTrans" cxnId="{9E078EC3-5880-4C40-9799-58AFB07E5BDB}">
      <dgm:prSet/>
      <dgm:spPr/>
      <dgm:t>
        <a:bodyPr/>
        <a:lstStyle/>
        <a:p>
          <a:endParaRPr lang="en-US"/>
        </a:p>
      </dgm:t>
    </dgm:pt>
    <dgm:pt modelId="{47DB1CDE-E834-41AC-AC50-E55C7C77C836}" type="sibTrans" cxnId="{9E078EC3-5880-4C40-9799-58AFB07E5BDB}">
      <dgm:prSet/>
      <dgm:spPr/>
      <dgm:t>
        <a:bodyPr/>
        <a:lstStyle/>
        <a:p>
          <a:endParaRPr lang="en-US"/>
        </a:p>
      </dgm:t>
    </dgm:pt>
    <dgm:pt modelId="{8BC55D57-43A5-42D3-AD41-D830526255CE}">
      <dgm:prSet phldrT="[Text]" custT="1"/>
      <dgm:spPr/>
      <dgm:t>
        <a:bodyPr/>
        <a:lstStyle/>
        <a:p>
          <a:r>
            <a:rPr lang="en-US" sz="1200" dirty="0" smtClean="0"/>
            <a:t>Provide embedded application as a service</a:t>
          </a:r>
          <a:endParaRPr lang="en-US" sz="1200" dirty="0"/>
        </a:p>
      </dgm:t>
    </dgm:pt>
    <dgm:pt modelId="{B5221F84-A248-4D8B-BC55-AB1615A6BD9F}" type="parTrans" cxnId="{05D9808F-3D79-4B82-8F1F-A93364FB77F1}">
      <dgm:prSet/>
      <dgm:spPr/>
      <dgm:t>
        <a:bodyPr/>
        <a:lstStyle/>
        <a:p>
          <a:endParaRPr lang="en-US"/>
        </a:p>
      </dgm:t>
    </dgm:pt>
    <dgm:pt modelId="{8EA91833-DA74-483E-9497-D6311CD3BFE4}" type="sibTrans" cxnId="{05D9808F-3D79-4B82-8F1F-A93364FB77F1}">
      <dgm:prSet/>
      <dgm:spPr/>
      <dgm:t>
        <a:bodyPr/>
        <a:lstStyle/>
        <a:p>
          <a:endParaRPr lang="en-US"/>
        </a:p>
      </dgm:t>
    </dgm:pt>
    <dgm:pt modelId="{2DA78128-21F3-4EDC-8042-2EC1D330134E}" type="pres">
      <dgm:prSet presAssocID="{3E351867-216E-464A-B419-F8CCD4144F5B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3356ACD-5822-48BD-BC5E-2C9068494AAF}" type="pres">
      <dgm:prSet presAssocID="{3E351867-216E-464A-B419-F8CCD4144F5B}" presName="children" presStyleCnt="0"/>
      <dgm:spPr/>
    </dgm:pt>
    <dgm:pt modelId="{84D99722-04A9-4AAE-97A1-77FAE3B6F454}" type="pres">
      <dgm:prSet presAssocID="{3E351867-216E-464A-B419-F8CCD4144F5B}" presName="child1group" presStyleCnt="0"/>
      <dgm:spPr/>
    </dgm:pt>
    <dgm:pt modelId="{6885832B-6C6E-4489-B9A6-849EE0DA2573}" type="pres">
      <dgm:prSet presAssocID="{3E351867-216E-464A-B419-F8CCD4144F5B}" presName="child1" presStyleLbl="bgAcc1" presStyleIdx="0" presStyleCnt="4" custScaleX="116608"/>
      <dgm:spPr/>
      <dgm:t>
        <a:bodyPr/>
        <a:lstStyle/>
        <a:p>
          <a:endParaRPr lang="en-US"/>
        </a:p>
      </dgm:t>
    </dgm:pt>
    <dgm:pt modelId="{5CA73501-7A3D-47BC-9943-8CED59172D15}" type="pres">
      <dgm:prSet presAssocID="{3E351867-216E-464A-B419-F8CCD4144F5B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460ED3-B0BC-4717-852F-395D7C0DFA09}" type="pres">
      <dgm:prSet presAssocID="{3E351867-216E-464A-B419-F8CCD4144F5B}" presName="child2group" presStyleCnt="0"/>
      <dgm:spPr/>
    </dgm:pt>
    <dgm:pt modelId="{26E7334D-DC63-42F3-87BD-B2AF6B0634F8}" type="pres">
      <dgm:prSet presAssocID="{3E351867-216E-464A-B419-F8CCD4144F5B}" presName="child2" presStyleLbl="bgAcc1" presStyleIdx="1" presStyleCnt="4" custScaleX="144171" custLinFactNeighborX="27885"/>
      <dgm:spPr/>
      <dgm:t>
        <a:bodyPr/>
        <a:lstStyle/>
        <a:p>
          <a:endParaRPr lang="en-US"/>
        </a:p>
      </dgm:t>
    </dgm:pt>
    <dgm:pt modelId="{FB14AA2D-3A37-45B0-855C-F3EDA095E289}" type="pres">
      <dgm:prSet presAssocID="{3E351867-216E-464A-B419-F8CCD4144F5B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29CB38-2677-4475-BB13-2B15254B5468}" type="pres">
      <dgm:prSet presAssocID="{3E351867-216E-464A-B419-F8CCD4144F5B}" presName="child3group" presStyleCnt="0"/>
      <dgm:spPr/>
    </dgm:pt>
    <dgm:pt modelId="{5FCBDFD1-638F-48E8-8018-C9F87B112D20}" type="pres">
      <dgm:prSet presAssocID="{3E351867-216E-464A-B419-F8CCD4144F5B}" presName="child3" presStyleLbl="bgAcc1" presStyleIdx="2" presStyleCnt="4" custScaleX="122287" custLinFactNeighborX="27320" custLinFactNeighborY="-7630"/>
      <dgm:spPr/>
      <dgm:t>
        <a:bodyPr/>
        <a:lstStyle/>
        <a:p>
          <a:endParaRPr lang="en-US"/>
        </a:p>
      </dgm:t>
    </dgm:pt>
    <dgm:pt modelId="{52EB2ABD-BDC0-46F9-B929-2FC76D67881B}" type="pres">
      <dgm:prSet presAssocID="{3E351867-216E-464A-B419-F8CCD4144F5B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DA4AC1-CA54-42E6-A576-C2B11F8E408D}" type="pres">
      <dgm:prSet presAssocID="{3E351867-216E-464A-B419-F8CCD4144F5B}" presName="child4group" presStyleCnt="0"/>
      <dgm:spPr/>
    </dgm:pt>
    <dgm:pt modelId="{D166E8E2-7B4C-4E95-92F4-C2E410662777}" type="pres">
      <dgm:prSet presAssocID="{3E351867-216E-464A-B419-F8CCD4144F5B}" presName="child4" presStyleLbl="bgAcc1" presStyleIdx="3" presStyleCnt="4"/>
      <dgm:spPr/>
      <dgm:t>
        <a:bodyPr/>
        <a:lstStyle/>
        <a:p>
          <a:endParaRPr lang="en-US"/>
        </a:p>
      </dgm:t>
    </dgm:pt>
    <dgm:pt modelId="{30C1A76E-9715-415B-8C90-FE554FE0D35B}" type="pres">
      <dgm:prSet presAssocID="{3E351867-216E-464A-B419-F8CCD4144F5B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D11169-6FAF-4D42-92B1-3B0A2074BEF0}" type="pres">
      <dgm:prSet presAssocID="{3E351867-216E-464A-B419-F8CCD4144F5B}" presName="childPlaceholder" presStyleCnt="0"/>
      <dgm:spPr/>
    </dgm:pt>
    <dgm:pt modelId="{6B610D0D-0294-4100-87BD-54C133A7F4B2}" type="pres">
      <dgm:prSet presAssocID="{3E351867-216E-464A-B419-F8CCD4144F5B}" presName="circle" presStyleCnt="0"/>
      <dgm:spPr/>
    </dgm:pt>
    <dgm:pt modelId="{D6F981C1-4E7B-4017-A926-98D98C241897}" type="pres">
      <dgm:prSet presAssocID="{3E351867-216E-464A-B419-F8CCD4144F5B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3FEB91-AA31-45A6-88CF-9308082D46AF}" type="pres">
      <dgm:prSet presAssocID="{3E351867-216E-464A-B419-F8CCD4144F5B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D3FD78-B3AB-45CF-AE75-93243CACF2EB}" type="pres">
      <dgm:prSet presAssocID="{3E351867-216E-464A-B419-F8CCD4144F5B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78C723-495C-41FA-87B8-C5203E28E930}" type="pres">
      <dgm:prSet presAssocID="{3E351867-216E-464A-B419-F8CCD4144F5B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5BAD35-CB01-4DFD-A752-120548D851A8}" type="pres">
      <dgm:prSet presAssocID="{3E351867-216E-464A-B419-F8CCD4144F5B}" presName="quadrantPlaceholder" presStyleCnt="0"/>
      <dgm:spPr/>
    </dgm:pt>
    <dgm:pt modelId="{1A0CE849-D2A0-47EF-A074-F9E490B73665}" type="pres">
      <dgm:prSet presAssocID="{3E351867-216E-464A-B419-F8CCD4144F5B}" presName="center1" presStyleLbl="fgShp" presStyleIdx="0" presStyleCnt="2"/>
      <dgm:spPr/>
    </dgm:pt>
    <dgm:pt modelId="{B8E8D1A6-C432-4460-B607-82E679E3177B}" type="pres">
      <dgm:prSet presAssocID="{3E351867-216E-464A-B419-F8CCD4144F5B}" presName="center2" presStyleLbl="fgShp" presStyleIdx="1" presStyleCnt="2"/>
      <dgm:spPr/>
    </dgm:pt>
  </dgm:ptLst>
  <dgm:cxnLst>
    <dgm:cxn modelId="{2D5B6BC1-76FF-48DB-8F46-7F74C5CAF9D8}" type="presOf" srcId="{3E351867-216E-464A-B419-F8CCD4144F5B}" destId="{2DA78128-21F3-4EDC-8042-2EC1D330134E}" srcOrd="0" destOrd="0" presId="urn:microsoft.com/office/officeart/2005/8/layout/cycle4"/>
    <dgm:cxn modelId="{7221DF95-0DB2-48A2-A4BF-EB17930223F8}" srcId="{6D0CC672-B134-4304-889E-2500F8D1634F}" destId="{4B63D359-5856-4F07-9EF5-E4AF59FD9D23}" srcOrd="1" destOrd="0" parTransId="{FBD7D0B5-1D53-4166-9CA9-EB8B0B863D95}" sibTransId="{AF133862-DC1C-408E-8858-65F797495828}"/>
    <dgm:cxn modelId="{92BCF4B1-5847-4A95-8BF3-CED144E77727}" type="presOf" srcId="{AB29AF44-B9A1-4765-B999-F8F87B2EB08D}" destId="{5CA73501-7A3D-47BC-9943-8CED59172D15}" srcOrd="1" destOrd="0" presId="urn:microsoft.com/office/officeart/2005/8/layout/cycle4"/>
    <dgm:cxn modelId="{6D75818E-9F08-486D-BBF4-8072169F8188}" srcId="{B9D543DE-20E5-4A1F-A586-346EFD27C65D}" destId="{C29C8DE7-B142-496C-8C16-7EA354FAE9A5}" srcOrd="3" destOrd="0" parTransId="{2549D123-4F86-497F-9ED2-A1A56D56CFC0}" sibTransId="{50CFE311-A050-4FAD-99DF-09D0DD125A47}"/>
    <dgm:cxn modelId="{7369FC0A-6E7B-4AB5-90C3-D4B839911D70}" type="presOf" srcId="{8BC55D57-43A5-42D3-AD41-D830526255CE}" destId="{52EB2ABD-BDC0-46F9-B929-2FC76D67881B}" srcOrd="1" destOrd="0" presId="urn:microsoft.com/office/officeart/2005/8/layout/cycle4"/>
    <dgm:cxn modelId="{E414DFCA-0E34-4018-AA16-E6F9440C0229}" type="presOf" srcId="{8408F95D-85F0-4E21-848A-E7128808F515}" destId="{3778C723-495C-41FA-87B8-C5203E28E930}" srcOrd="0" destOrd="0" presId="urn:microsoft.com/office/officeart/2005/8/layout/cycle4"/>
    <dgm:cxn modelId="{1805DB9F-9960-4DB5-AD97-9E7DF069D3E3}" type="presOf" srcId="{7CCFDB6F-6C39-4C38-8A4A-A3625883E039}" destId="{26E7334D-DC63-42F3-87BD-B2AF6B0634F8}" srcOrd="0" destOrd="0" presId="urn:microsoft.com/office/officeart/2005/8/layout/cycle4"/>
    <dgm:cxn modelId="{43651A1D-2D6F-41A0-A42C-3F94F1FC5F7B}" type="presOf" srcId="{8BC55D57-43A5-42D3-AD41-D830526255CE}" destId="{5FCBDFD1-638F-48E8-8018-C9F87B112D20}" srcOrd="0" destOrd="0" presId="urn:microsoft.com/office/officeart/2005/8/layout/cycle4"/>
    <dgm:cxn modelId="{8702D31B-D8B9-45B1-9FA5-715D1232DBB7}" srcId="{6D0CC672-B134-4304-889E-2500F8D1634F}" destId="{7CCFDB6F-6C39-4C38-8A4A-A3625883E039}" srcOrd="0" destOrd="0" parTransId="{99EB3CA1-E7C2-462A-B1AD-D5FFAE8631AD}" sibTransId="{0AD50FFF-C684-4499-8594-A5AB15E33A3C}"/>
    <dgm:cxn modelId="{32E7BB31-7F69-4C5C-9431-CB477A8E283E}" srcId="{3E351867-216E-464A-B419-F8CCD4144F5B}" destId="{6D0CC672-B134-4304-889E-2500F8D1634F}" srcOrd="1" destOrd="0" parTransId="{35BF159F-82C8-4C31-84BB-B98E72556C24}" sibTransId="{FEB690BF-EBAB-4DAD-B34D-19D022FE8C90}"/>
    <dgm:cxn modelId="{05D9808F-3D79-4B82-8F1F-A93364FB77F1}" srcId="{54902B56-D116-4BEC-BF4D-758E5488C3BE}" destId="{8BC55D57-43A5-42D3-AD41-D830526255CE}" srcOrd="0" destOrd="0" parTransId="{B5221F84-A248-4D8B-BC55-AB1615A6BD9F}" sibTransId="{8EA91833-DA74-483E-9497-D6311CD3BFE4}"/>
    <dgm:cxn modelId="{F9FC0FB7-A10D-46E3-BD24-085B75E11309}" type="presOf" srcId="{161C6DE5-0BCF-4CC4-AF5A-24D99BA0877B}" destId="{52EB2ABD-BDC0-46F9-B929-2FC76D67881B}" srcOrd="1" destOrd="3" presId="urn:microsoft.com/office/officeart/2005/8/layout/cycle4"/>
    <dgm:cxn modelId="{397A420F-B5BB-48AC-9609-4FE6AB283126}" type="presOf" srcId="{D02C4719-F0FA-4084-A737-C2B0E19F0EA9}" destId="{5CA73501-7A3D-47BC-9943-8CED59172D15}" srcOrd="1" destOrd="2" presId="urn:microsoft.com/office/officeart/2005/8/layout/cycle4"/>
    <dgm:cxn modelId="{D60EAE2D-69F9-4CF3-A412-908FFE78FA7B}" type="presOf" srcId="{AA5CB0CB-7D97-4A6F-B28C-99C11B65CBF3}" destId="{52EB2ABD-BDC0-46F9-B929-2FC76D67881B}" srcOrd="1" destOrd="1" presId="urn:microsoft.com/office/officeart/2005/8/layout/cycle4"/>
    <dgm:cxn modelId="{C8C9CDF7-964F-4EA2-A707-FEE299523AD5}" type="presOf" srcId="{C29C8DE7-B142-496C-8C16-7EA354FAE9A5}" destId="{6885832B-6C6E-4489-B9A6-849EE0DA2573}" srcOrd="0" destOrd="3" presId="urn:microsoft.com/office/officeart/2005/8/layout/cycle4"/>
    <dgm:cxn modelId="{E8D65E56-91F3-4290-B5E6-1D7D11100FD3}" type="presOf" srcId="{4B63D359-5856-4F07-9EF5-E4AF59FD9D23}" destId="{26E7334D-DC63-42F3-87BD-B2AF6B0634F8}" srcOrd="0" destOrd="1" presId="urn:microsoft.com/office/officeart/2005/8/layout/cycle4"/>
    <dgm:cxn modelId="{4C000F6C-98DF-4545-8941-61451974412C}" srcId="{B9D543DE-20E5-4A1F-A586-346EFD27C65D}" destId="{D02C4719-F0FA-4084-A737-C2B0E19F0EA9}" srcOrd="2" destOrd="0" parTransId="{8006C27F-F79A-4F30-928E-6B883E509D4D}" sibTransId="{C3F9F221-505D-42EE-B789-84B684BC900F}"/>
    <dgm:cxn modelId="{FABD7CB8-B24E-47F8-9404-906D55C8B8E9}" type="presOf" srcId="{161C6DE5-0BCF-4CC4-AF5A-24D99BA0877B}" destId="{5FCBDFD1-638F-48E8-8018-C9F87B112D20}" srcOrd="0" destOrd="3" presId="urn:microsoft.com/office/officeart/2005/8/layout/cycle4"/>
    <dgm:cxn modelId="{3E716E84-3292-4ED6-A732-DE986D68F035}" type="presOf" srcId="{AE108CDF-4C82-4603-BC1A-25D611DDCB0F}" destId="{6885832B-6C6E-4489-B9A6-849EE0DA2573}" srcOrd="0" destOrd="1" presId="urn:microsoft.com/office/officeart/2005/8/layout/cycle4"/>
    <dgm:cxn modelId="{CE0489DF-A78A-42DC-AB18-31CC502C3866}" srcId="{8408F95D-85F0-4E21-848A-E7128808F515}" destId="{8D077D4F-1D0C-4174-90A5-037BC0E6A25B}" srcOrd="0" destOrd="0" parTransId="{A2D51D9F-36CC-4975-814C-5E664CC3ABBB}" sibTransId="{3555DB38-C39D-447A-BCAC-67512BE1F78A}"/>
    <dgm:cxn modelId="{A0B4D960-7924-4295-934D-AAB2C8B58929}" type="presOf" srcId="{AB29AF44-B9A1-4765-B999-F8F87B2EB08D}" destId="{6885832B-6C6E-4489-B9A6-849EE0DA2573}" srcOrd="0" destOrd="0" presId="urn:microsoft.com/office/officeart/2005/8/layout/cycle4"/>
    <dgm:cxn modelId="{F05EA192-AD3C-42B1-9D1C-A4F47ED9CD03}" type="presOf" srcId="{6D0CC672-B134-4304-889E-2500F8D1634F}" destId="{493FEB91-AA31-45A6-88CF-9308082D46AF}" srcOrd="0" destOrd="0" presId="urn:microsoft.com/office/officeart/2005/8/layout/cycle4"/>
    <dgm:cxn modelId="{9E078EC3-5880-4C40-9799-58AFB07E5BDB}" srcId="{54902B56-D116-4BEC-BF4D-758E5488C3BE}" destId="{AA5CB0CB-7D97-4A6F-B28C-99C11B65CBF3}" srcOrd="1" destOrd="0" parTransId="{1F946E7F-0F2B-4D5F-8479-0B98C161E728}" sibTransId="{47DB1CDE-E834-41AC-AC50-E55C7C77C836}"/>
    <dgm:cxn modelId="{233BF8CD-8A68-403C-B158-5AFD7CAB17BB}" type="presOf" srcId="{54902B56-D116-4BEC-BF4D-758E5488C3BE}" destId="{6CD3FD78-B3AB-45CF-AE75-93243CACF2EB}" srcOrd="0" destOrd="0" presId="urn:microsoft.com/office/officeart/2005/8/layout/cycle4"/>
    <dgm:cxn modelId="{850656A7-CA86-4C24-8541-2CC4B9087DF2}" srcId="{B9D543DE-20E5-4A1F-A586-346EFD27C65D}" destId="{AB29AF44-B9A1-4765-B999-F8F87B2EB08D}" srcOrd="0" destOrd="0" parTransId="{B60998E7-B823-4EEA-A380-71BD68B2EC8C}" sibTransId="{E2BFC306-8E91-44A4-82C8-6FAA4AF80CE4}"/>
    <dgm:cxn modelId="{D0FDC6E0-1FF1-4CCF-B1EE-9206C1186BC9}" srcId="{3E351867-216E-464A-B419-F8CCD4144F5B}" destId="{B9D543DE-20E5-4A1F-A586-346EFD27C65D}" srcOrd="0" destOrd="0" parTransId="{C380ABA5-FB3A-42AD-93E8-F9C741CCEDC9}" sibTransId="{41C638E2-29FB-48BF-BF39-78D0CFE325B8}"/>
    <dgm:cxn modelId="{2D801F1C-2909-4D4A-8826-FDB614DDB3EC}" srcId="{3E351867-216E-464A-B419-F8CCD4144F5B}" destId="{8408F95D-85F0-4E21-848A-E7128808F515}" srcOrd="3" destOrd="0" parTransId="{A55FF0D7-46F7-4181-BE60-A11AB8201ACA}" sibTransId="{9760EFE7-7C5D-4197-B27C-9AF0C88D0C94}"/>
    <dgm:cxn modelId="{29B7A90D-2186-4C38-A03A-C7E3B01BE599}" type="presOf" srcId="{AE108CDF-4C82-4603-BC1A-25D611DDCB0F}" destId="{5CA73501-7A3D-47BC-9943-8CED59172D15}" srcOrd="1" destOrd="1" presId="urn:microsoft.com/office/officeart/2005/8/layout/cycle4"/>
    <dgm:cxn modelId="{435E0FC8-0C95-40A5-AE3E-46D93628DA7A}" type="presOf" srcId="{B9D543DE-20E5-4A1F-A586-346EFD27C65D}" destId="{D6F981C1-4E7B-4017-A926-98D98C241897}" srcOrd="0" destOrd="0" presId="urn:microsoft.com/office/officeart/2005/8/layout/cycle4"/>
    <dgm:cxn modelId="{B0021C59-8F67-44FD-8657-54F8F4DF3EED}" type="presOf" srcId="{C29C8DE7-B142-496C-8C16-7EA354FAE9A5}" destId="{5CA73501-7A3D-47BC-9943-8CED59172D15}" srcOrd="1" destOrd="3" presId="urn:microsoft.com/office/officeart/2005/8/layout/cycle4"/>
    <dgm:cxn modelId="{DD8C4B5F-64BB-49EC-BE55-F32E01336A24}" srcId="{B9D543DE-20E5-4A1F-A586-346EFD27C65D}" destId="{AE108CDF-4C82-4603-BC1A-25D611DDCB0F}" srcOrd="1" destOrd="0" parTransId="{732F88F8-3872-490F-8DB6-5603A8DC310E}" sibTransId="{A6094445-1179-4285-87C3-4B9D688FCAC8}"/>
    <dgm:cxn modelId="{E3983273-8506-4ED8-9FEB-66B40E23DB75}" type="presOf" srcId="{7CCFDB6F-6C39-4C38-8A4A-A3625883E039}" destId="{FB14AA2D-3A37-45B0-855C-F3EDA095E289}" srcOrd="1" destOrd="0" presId="urn:microsoft.com/office/officeart/2005/8/layout/cycle4"/>
    <dgm:cxn modelId="{6A992A1D-435F-41A9-A066-6093C0BCF660}" type="presOf" srcId="{907AC313-DBBF-4FD1-9A2F-CF8604BD7617}" destId="{52EB2ABD-BDC0-46F9-B929-2FC76D67881B}" srcOrd="1" destOrd="2" presId="urn:microsoft.com/office/officeart/2005/8/layout/cycle4"/>
    <dgm:cxn modelId="{CC084C0C-DF88-4983-AAD9-4615F94F2574}" type="presOf" srcId="{AA5CB0CB-7D97-4A6F-B28C-99C11B65CBF3}" destId="{5FCBDFD1-638F-48E8-8018-C9F87B112D20}" srcOrd="0" destOrd="1" presId="urn:microsoft.com/office/officeart/2005/8/layout/cycle4"/>
    <dgm:cxn modelId="{6692E046-064E-4AE8-9F19-8C0717C60CCB}" type="presOf" srcId="{4B63D359-5856-4F07-9EF5-E4AF59FD9D23}" destId="{FB14AA2D-3A37-45B0-855C-F3EDA095E289}" srcOrd="1" destOrd="1" presId="urn:microsoft.com/office/officeart/2005/8/layout/cycle4"/>
    <dgm:cxn modelId="{0839F4A9-4AA2-4267-911E-EEDE900082E2}" type="presOf" srcId="{8D077D4F-1D0C-4174-90A5-037BC0E6A25B}" destId="{D166E8E2-7B4C-4E95-92F4-C2E410662777}" srcOrd="0" destOrd="0" presId="urn:microsoft.com/office/officeart/2005/8/layout/cycle4"/>
    <dgm:cxn modelId="{4AD9C14D-CE2E-4334-9F86-25A3032AB6B4}" srcId="{54902B56-D116-4BEC-BF4D-758E5488C3BE}" destId="{907AC313-DBBF-4FD1-9A2F-CF8604BD7617}" srcOrd="2" destOrd="0" parTransId="{68C83008-7BEF-4F3F-A69E-1C66062BF61D}" sibTransId="{1A35A36D-9E32-4FB2-B9DA-CE9490329732}"/>
    <dgm:cxn modelId="{503E6D7B-6AC2-403E-8434-415D11421E3C}" type="presOf" srcId="{D02C4719-F0FA-4084-A737-C2B0E19F0EA9}" destId="{6885832B-6C6E-4489-B9A6-849EE0DA2573}" srcOrd="0" destOrd="2" presId="urn:microsoft.com/office/officeart/2005/8/layout/cycle4"/>
    <dgm:cxn modelId="{1A380437-D45A-4B67-ADE1-D19E3CD65AE0}" srcId="{3E351867-216E-464A-B419-F8CCD4144F5B}" destId="{54902B56-D116-4BEC-BF4D-758E5488C3BE}" srcOrd="2" destOrd="0" parTransId="{1BD8FAE9-E260-41DD-9E7B-617671E5FDA7}" sibTransId="{A4B71562-FDF5-42FD-BCD6-4E019CF72B1A}"/>
    <dgm:cxn modelId="{0AE96A78-B7F0-4E6C-BF9A-B4EE8B3F36DF}" srcId="{54902B56-D116-4BEC-BF4D-758E5488C3BE}" destId="{161C6DE5-0BCF-4CC4-AF5A-24D99BA0877B}" srcOrd="3" destOrd="0" parTransId="{6A436F21-F6EA-40DA-8374-9C6D2419F9B9}" sibTransId="{6F7F2F1D-D815-47FC-9017-548346AB9E31}"/>
    <dgm:cxn modelId="{6D4469B5-FB1C-4AFD-B03D-5EF873897ADB}" type="presOf" srcId="{8D077D4F-1D0C-4174-90A5-037BC0E6A25B}" destId="{30C1A76E-9715-415B-8C90-FE554FE0D35B}" srcOrd="1" destOrd="0" presId="urn:microsoft.com/office/officeart/2005/8/layout/cycle4"/>
    <dgm:cxn modelId="{3419A565-AA10-4875-A818-224A5AF3098A}" type="presOf" srcId="{907AC313-DBBF-4FD1-9A2F-CF8604BD7617}" destId="{5FCBDFD1-638F-48E8-8018-C9F87B112D20}" srcOrd="0" destOrd="2" presId="urn:microsoft.com/office/officeart/2005/8/layout/cycle4"/>
    <dgm:cxn modelId="{1655C437-3EF8-4EC7-A229-7B3D56D1C5D5}" type="presParOf" srcId="{2DA78128-21F3-4EDC-8042-2EC1D330134E}" destId="{23356ACD-5822-48BD-BC5E-2C9068494AAF}" srcOrd="0" destOrd="0" presId="urn:microsoft.com/office/officeart/2005/8/layout/cycle4"/>
    <dgm:cxn modelId="{CECA7F14-E98C-4688-857B-6E7F97ECE006}" type="presParOf" srcId="{23356ACD-5822-48BD-BC5E-2C9068494AAF}" destId="{84D99722-04A9-4AAE-97A1-77FAE3B6F454}" srcOrd="0" destOrd="0" presId="urn:microsoft.com/office/officeart/2005/8/layout/cycle4"/>
    <dgm:cxn modelId="{072970C0-D3BF-425E-94FC-E8137167A963}" type="presParOf" srcId="{84D99722-04A9-4AAE-97A1-77FAE3B6F454}" destId="{6885832B-6C6E-4489-B9A6-849EE0DA2573}" srcOrd="0" destOrd="0" presId="urn:microsoft.com/office/officeart/2005/8/layout/cycle4"/>
    <dgm:cxn modelId="{F88C523A-BCF3-40C4-B897-A920A1DB3DAC}" type="presParOf" srcId="{84D99722-04A9-4AAE-97A1-77FAE3B6F454}" destId="{5CA73501-7A3D-47BC-9943-8CED59172D15}" srcOrd="1" destOrd="0" presId="urn:microsoft.com/office/officeart/2005/8/layout/cycle4"/>
    <dgm:cxn modelId="{6A9679D8-42BE-40CA-AD7C-4F52451C3CA4}" type="presParOf" srcId="{23356ACD-5822-48BD-BC5E-2C9068494AAF}" destId="{A4460ED3-B0BC-4717-852F-395D7C0DFA09}" srcOrd="1" destOrd="0" presId="urn:microsoft.com/office/officeart/2005/8/layout/cycle4"/>
    <dgm:cxn modelId="{A0CC3D56-0395-47AC-B8B6-58FFF6E784E6}" type="presParOf" srcId="{A4460ED3-B0BC-4717-852F-395D7C0DFA09}" destId="{26E7334D-DC63-42F3-87BD-B2AF6B0634F8}" srcOrd="0" destOrd="0" presId="urn:microsoft.com/office/officeart/2005/8/layout/cycle4"/>
    <dgm:cxn modelId="{3C7BAF81-F02A-4734-A55C-792CCC0B37E2}" type="presParOf" srcId="{A4460ED3-B0BC-4717-852F-395D7C0DFA09}" destId="{FB14AA2D-3A37-45B0-855C-F3EDA095E289}" srcOrd="1" destOrd="0" presId="urn:microsoft.com/office/officeart/2005/8/layout/cycle4"/>
    <dgm:cxn modelId="{045A026A-EDA8-4934-A6AD-7047AF99C434}" type="presParOf" srcId="{23356ACD-5822-48BD-BC5E-2C9068494AAF}" destId="{9D29CB38-2677-4475-BB13-2B15254B5468}" srcOrd="2" destOrd="0" presId="urn:microsoft.com/office/officeart/2005/8/layout/cycle4"/>
    <dgm:cxn modelId="{A40023EF-082A-4C0D-A74F-4CC04DC3461B}" type="presParOf" srcId="{9D29CB38-2677-4475-BB13-2B15254B5468}" destId="{5FCBDFD1-638F-48E8-8018-C9F87B112D20}" srcOrd="0" destOrd="0" presId="urn:microsoft.com/office/officeart/2005/8/layout/cycle4"/>
    <dgm:cxn modelId="{CA3912AA-DA40-45E9-BDE8-9461F8156860}" type="presParOf" srcId="{9D29CB38-2677-4475-BB13-2B15254B5468}" destId="{52EB2ABD-BDC0-46F9-B929-2FC76D67881B}" srcOrd="1" destOrd="0" presId="urn:microsoft.com/office/officeart/2005/8/layout/cycle4"/>
    <dgm:cxn modelId="{999C44C6-A330-423B-91B1-4647A39C9BC4}" type="presParOf" srcId="{23356ACD-5822-48BD-BC5E-2C9068494AAF}" destId="{FFDA4AC1-CA54-42E6-A576-C2B11F8E408D}" srcOrd="3" destOrd="0" presId="urn:microsoft.com/office/officeart/2005/8/layout/cycle4"/>
    <dgm:cxn modelId="{DB0FBAF4-1006-400C-9BA1-A7D27D11B855}" type="presParOf" srcId="{FFDA4AC1-CA54-42E6-A576-C2B11F8E408D}" destId="{D166E8E2-7B4C-4E95-92F4-C2E410662777}" srcOrd="0" destOrd="0" presId="urn:microsoft.com/office/officeart/2005/8/layout/cycle4"/>
    <dgm:cxn modelId="{2A306049-A101-48BE-B51F-D8E8419C1E35}" type="presParOf" srcId="{FFDA4AC1-CA54-42E6-A576-C2B11F8E408D}" destId="{30C1A76E-9715-415B-8C90-FE554FE0D35B}" srcOrd="1" destOrd="0" presId="urn:microsoft.com/office/officeart/2005/8/layout/cycle4"/>
    <dgm:cxn modelId="{BE0D2D52-3AB3-4032-99F9-6BC307EEBCA2}" type="presParOf" srcId="{23356ACD-5822-48BD-BC5E-2C9068494AAF}" destId="{3ED11169-6FAF-4D42-92B1-3B0A2074BEF0}" srcOrd="4" destOrd="0" presId="urn:microsoft.com/office/officeart/2005/8/layout/cycle4"/>
    <dgm:cxn modelId="{6C8F6B02-2AC5-41BA-99EE-D86AC906BB06}" type="presParOf" srcId="{2DA78128-21F3-4EDC-8042-2EC1D330134E}" destId="{6B610D0D-0294-4100-87BD-54C133A7F4B2}" srcOrd="1" destOrd="0" presId="urn:microsoft.com/office/officeart/2005/8/layout/cycle4"/>
    <dgm:cxn modelId="{50282979-871D-4252-ABF5-02EC5B2533D0}" type="presParOf" srcId="{6B610D0D-0294-4100-87BD-54C133A7F4B2}" destId="{D6F981C1-4E7B-4017-A926-98D98C241897}" srcOrd="0" destOrd="0" presId="urn:microsoft.com/office/officeart/2005/8/layout/cycle4"/>
    <dgm:cxn modelId="{64701FDC-064E-4BCB-BAC6-E1E5A87DBC5A}" type="presParOf" srcId="{6B610D0D-0294-4100-87BD-54C133A7F4B2}" destId="{493FEB91-AA31-45A6-88CF-9308082D46AF}" srcOrd="1" destOrd="0" presId="urn:microsoft.com/office/officeart/2005/8/layout/cycle4"/>
    <dgm:cxn modelId="{869689DE-989A-48F6-95D3-735FB9BF4DB5}" type="presParOf" srcId="{6B610D0D-0294-4100-87BD-54C133A7F4B2}" destId="{6CD3FD78-B3AB-45CF-AE75-93243CACF2EB}" srcOrd="2" destOrd="0" presId="urn:microsoft.com/office/officeart/2005/8/layout/cycle4"/>
    <dgm:cxn modelId="{E67E3D9F-201A-457F-BBD1-84B5FCEB070C}" type="presParOf" srcId="{6B610D0D-0294-4100-87BD-54C133A7F4B2}" destId="{3778C723-495C-41FA-87B8-C5203E28E930}" srcOrd="3" destOrd="0" presId="urn:microsoft.com/office/officeart/2005/8/layout/cycle4"/>
    <dgm:cxn modelId="{E10B82A1-AB78-4DFE-AB00-FCD1D0A9A5A3}" type="presParOf" srcId="{6B610D0D-0294-4100-87BD-54C133A7F4B2}" destId="{615BAD35-CB01-4DFD-A752-120548D851A8}" srcOrd="4" destOrd="0" presId="urn:microsoft.com/office/officeart/2005/8/layout/cycle4"/>
    <dgm:cxn modelId="{90F73545-2CDC-4AE8-B8D1-AC2E7830DF6B}" type="presParOf" srcId="{2DA78128-21F3-4EDC-8042-2EC1D330134E}" destId="{1A0CE849-D2A0-47EF-A074-F9E490B73665}" srcOrd="2" destOrd="0" presId="urn:microsoft.com/office/officeart/2005/8/layout/cycle4"/>
    <dgm:cxn modelId="{E2BF398A-F10C-4EF2-817F-2C2F5289212E}" type="presParOf" srcId="{2DA78128-21F3-4EDC-8042-2EC1D330134E}" destId="{B8E8D1A6-C432-4460-B607-82E679E3177B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39007A3-6B33-4F20-9F8F-419D4197FFF8}" type="doc">
      <dgm:prSet loTypeId="urn:microsoft.com/office/officeart/2005/8/layout/arrow2" loCatId="process" qsTypeId="urn:microsoft.com/office/officeart/2005/8/quickstyle/simple4" qsCatId="simple" csTypeId="urn:microsoft.com/office/officeart/2005/8/colors/accent1_2#1" csCatId="accent1" phldr="1"/>
      <dgm:spPr/>
      <dgm:t>
        <a:bodyPr/>
        <a:lstStyle/>
        <a:p>
          <a:endParaRPr lang="en-US"/>
        </a:p>
      </dgm:t>
    </dgm:pt>
    <dgm:pt modelId="{2EAA4717-188E-449C-B326-6091584542D6}">
      <dgm:prSet phldrT="[Text]" custT="1"/>
      <dgm:spPr/>
      <dgm:t>
        <a:bodyPr/>
        <a:lstStyle/>
        <a:p>
          <a:r>
            <a:rPr lang="en-US" sz="300" b="1" dirty="0" smtClean="0">
              <a:latin typeface="Calibri" pitchFamily="34" charset="0"/>
              <a:cs typeface="Calibri" pitchFamily="34" charset="0"/>
            </a:rPr>
            <a:t/>
          </a:r>
          <a:br>
            <a:rPr lang="en-US" sz="300" b="1" dirty="0" smtClean="0">
              <a:latin typeface="Calibri" pitchFamily="34" charset="0"/>
              <a:cs typeface="Calibri" pitchFamily="34" charset="0"/>
            </a:rPr>
          </a:br>
          <a:r>
            <a:rPr lang="en-US" sz="300" b="1" dirty="0" smtClean="0">
              <a:latin typeface="Calibri" pitchFamily="34" charset="0"/>
              <a:cs typeface="Calibri" pitchFamily="34" charset="0"/>
            </a:rPr>
            <a:t/>
          </a:r>
          <a:br>
            <a:rPr lang="en-US" sz="300" b="1" dirty="0" smtClean="0">
              <a:latin typeface="Calibri" pitchFamily="34" charset="0"/>
              <a:cs typeface="Calibri" pitchFamily="34" charset="0"/>
            </a:rPr>
          </a:br>
          <a:endParaRPr lang="en-US" sz="900" b="1" dirty="0">
            <a:latin typeface="Calibri" pitchFamily="34" charset="0"/>
            <a:cs typeface="Calibri" pitchFamily="34" charset="0"/>
          </a:endParaRPr>
        </a:p>
      </dgm:t>
    </dgm:pt>
    <dgm:pt modelId="{04FC413E-FFE3-4411-B0A4-DDAA5CD0601B}" type="parTrans" cxnId="{2BD20C01-D165-4BAA-AC65-D900AECC17DF}">
      <dgm:prSet/>
      <dgm:spPr/>
      <dgm:t>
        <a:bodyPr/>
        <a:lstStyle/>
        <a:p>
          <a:endParaRPr lang="en-US" sz="500"/>
        </a:p>
      </dgm:t>
    </dgm:pt>
    <dgm:pt modelId="{B53907D6-F070-48F4-992A-3D6254265D27}" type="sibTrans" cxnId="{2BD20C01-D165-4BAA-AC65-D900AECC17DF}">
      <dgm:prSet/>
      <dgm:spPr/>
      <dgm:t>
        <a:bodyPr/>
        <a:lstStyle/>
        <a:p>
          <a:endParaRPr lang="en-US" sz="500"/>
        </a:p>
      </dgm:t>
    </dgm:pt>
    <dgm:pt modelId="{E25696F7-8658-4493-915E-17F1E593E6BF}">
      <dgm:prSet phldrT="[Text]" custT="1"/>
      <dgm:spPr/>
      <dgm:t>
        <a:bodyPr/>
        <a:lstStyle/>
        <a:p>
          <a:pPr algn="ctr">
            <a:spcAft>
              <a:spcPts val="300"/>
            </a:spcAft>
          </a:pPr>
          <a:r>
            <a:rPr lang="en-US" sz="1400" b="1" dirty="0" smtClean="0">
              <a:latin typeface="Calibri" pitchFamily="34" charset="0"/>
              <a:cs typeface="Calibri" pitchFamily="34" charset="0"/>
            </a:rPr>
            <a:t>2012/13</a:t>
          </a:r>
        </a:p>
        <a:p>
          <a:pPr algn="ctr">
            <a:spcAft>
              <a:spcPct val="35000"/>
            </a:spcAft>
          </a:pPr>
          <a:r>
            <a:rPr lang="en-US" sz="1200" b="0" dirty="0" smtClean="0">
              <a:latin typeface="Calibri" pitchFamily="34" charset="0"/>
              <a:cs typeface="Calibri" pitchFamily="34" charset="0"/>
            </a:rPr>
            <a:t>provide new customer-driven features</a:t>
          </a:r>
        </a:p>
      </dgm:t>
    </dgm:pt>
    <dgm:pt modelId="{2CE23977-4058-4115-BCC6-2F6A5CA6C09C}" type="parTrans" cxnId="{C4B8F91B-E7D6-4490-AFE6-D8A5E18D2E85}">
      <dgm:prSet/>
      <dgm:spPr/>
      <dgm:t>
        <a:bodyPr/>
        <a:lstStyle/>
        <a:p>
          <a:endParaRPr lang="en-US" sz="500"/>
        </a:p>
      </dgm:t>
    </dgm:pt>
    <dgm:pt modelId="{F21984B5-C3EE-4528-A189-212D6E0266AF}" type="sibTrans" cxnId="{C4B8F91B-E7D6-4490-AFE6-D8A5E18D2E85}">
      <dgm:prSet/>
      <dgm:spPr/>
      <dgm:t>
        <a:bodyPr/>
        <a:lstStyle/>
        <a:p>
          <a:endParaRPr lang="en-US" sz="500"/>
        </a:p>
      </dgm:t>
    </dgm:pt>
    <dgm:pt modelId="{1BCFDF2B-E194-4E84-8ECE-435A0974D2F4}">
      <dgm:prSet phldrT="[Text]" custT="1"/>
      <dgm:spPr/>
      <dgm:t>
        <a:bodyPr/>
        <a:lstStyle/>
        <a:p>
          <a:pPr algn="ctr">
            <a:spcAft>
              <a:spcPts val="300"/>
            </a:spcAft>
          </a:pPr>
          <a:r>
            <a:rPr lang="en-US" sz="1400" b="1" dirty="0" smtClean="0">
              <a:latin typeface="Calibri" pitchFamily="34" charset="0"/>
              <a:cs typeface="Calibri" pitchFamily="34" charset="0"/>
            </a:rPr>
            <a:t>2013/14</a:t>
          </a:r>
          <a:r>
            <a:rPr lang="en-US" sz="2000" b="1" dirty="0" smtClean="0">
              <a:latin typeface="Calibri" pitchFamily="34" charset="0"/>
              <a:cs typeface="Calibri" pitchFamily="34" charset="0"/>
            </a:rPr>
            <a:t/>
          </a:r>
          <a:br>
            <a:rPr lang="en-US" sz="2000" b="1" dirty="0" smtClean="0">
              <a:latin typeface="Calibri" pitchFamily="34" charset="0"/>
              <a:cs typeface="Calibri" pitchFamily="34" charset="0"/>
            </a:rPr>
          </a:br>
          <a:r>
            <a:rPr lang="en-US" sz="1050" b="0" dirty="0" smtClean="0">
              <a:latin typeface="+mj-lt"/>
              <a:cs typeface="Calibri" pitchFamily="34" charset="0"/>
            </a:rPr>
            <a:t>service platform for</a:t>
          </a:r>
          <a:br>
            <a:rPr lang="en-US" sz="1050" b="0" dirty="0" smtClean="0">
              <a:latin typeface="+mj-lt"/>
              <a:cs typeface="Calibri" pitchFamily="34" charset="0"/>
            </a:rPr>
          </a:br>
          <a:r>
            <a:rPr lang="en-US" sz="1050" b="0" dirty="0" smtClean="0">
              <a:latin typeface="+mj-lt"/>
              <a:cs typeface="Calibri" pitchFamily="34" charset="0"/>
            </a:rPr>
            <a:t>  strategic customers</a:t>
          </a:r>
          <a:endParaRPr lang="en-US" sz="2000" b="0" dirty="0">
            <a:latin typeface="+mj-lt"/>
            <a:cs typeface="Calibri" pitchFamily="34" charset="0"/>
          </a:endParaRPr>
        </a:p>
      </dgm:t>
    </dgm:pt>
    <dgm:pt modelId="{3EE32179-FB2C-4F08-898B-68FFADA66648}" type="parTrans" cxnId="{7441C490-EF7E-4A0F-80E2-B234C9E47870}">
      <dgm:prSet/>
      <dgm:spPr/>
      <dgm:t>
        <a:bodyPr/>
        <a:lstStyle/>
        <a:p>
          <a:endParaRPr lang="en-US" sz="500"/>
        </a:p>
      </dgm:t>
    </dgm:pt>
    <dgm:pt modelId="{2B5A9653-DF6B-498F-8B2D-81877B109DB9}" type="sibTrans" cxnId="{7441C490-EF7E-4A0F-80E2-B234C9E47870}">
      <dgm:prSet/>
      <dgm:spPr/>
      <dgm:t>
        <a:bodyPr/>
        <a:lstStyle/>
        <a:p>
          <a:endParaRPr lang="en-US" sz="500"/>
        </a:p>
      </dgm:t>
    </dgm:pt>
    <dgm:pt modelId="{69E7DCA6-12B8-4AC4-9AFB-44A48AF095DB}" type="pres">
      <dgm:prSet presAssocID="{E39007A3-6B33-4F20-9F8F-419D4197FFF8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F016EA0-3CBE-41E4-B0FC-699E9BBECA94}" type="pres">
      <dgm:prSet presAssocID="{E39007A3-6B33-4F20-9F8F-419D4197FFF8}" presName="arrow" presStyleLbl="bgShp" presStyleIdx="0" presStyleCnt="1" custScaleX="100000" custScaleY="60948" custLinFactNeighborY="-724"/>
      <dgm:spPr/>
      <dgm:t>
        <a:bodyPr/>
        <a:lstStyle/>
        <a:p>
          <a:endParaRPr lang="en-US"/>
        </a:p>
      </dgm:t>
    </dgm:pt>
    <dgm:pt modelId="{F8D0942C-BACF-4FF3-9013-E04374E8BE32}" type="pres">
      <dgm:prSet presAssocID="{E39007A3-6B33-4F20-9F8F-419D4197FFF8}" presName="arrowDiagram3" presStyleCnt="0"/>
      <dgm:spPr/>
      <dgm:t>
        <a:bodyPr/>
        <a:lstStyle/>
        <a:p>
          <a:endParaRPr lang="en-US"/>
        </a:p>
      </dgm:t>
    </dgm:pt>
    <dgm:pt modelId="{36FE7348-8DF3-47E7-A4A1-D7A6E5E39CA6}" type="pres">
      <dgm:prSet presAssocID="{2EAA4717-188E-449C-B326-6091584542D6}" presName="bullet3a" presStyleLbl="node1" presStyleIdx="0" presStyleCnt="3" custFlipVert="0" custFlipHor="0" custScaleX="48699" custScaleY="48699" custLinFactX="-200000" custLinFactY="85467" custLinFactNeighborX="-295759" custLinFactNeighborY="100000"/>
      <dgm:spPr/>
      <dgm:t>
        <a:bodyPr/>
        <a:lstStyle/>
        <a:p>
          <a:endParaRPr lang="en-US"/>
        </a:p>
      </dgm:t>
    </dgm:pt>
    <dgm:pt modelId="{CE5E199E-B4F6-4BF1-B893-8E1A3ABF6BB2}" type="pres">
      <dgm:prSet presAssocID="{2EAA4717-188E-449C-B326-6091584542D6}" presName="textBox3a" presStyleLbl="revTx" presStyleIdx="0" presStyleCnt="3" custScaleX="291396" custScaleY="124656" custLinFactNeighborY="-1156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6761B3-C1BA-4866-8407-4B9E70DF7A81}" type="pres">
      <dgm:prSet presAssocID="{E25696F7-8658-4493-915E-17F1E593E6BF}" presName="bullet3b" presStyleLbl="node1" presStyleIdx="1" presStyleCnt="3" custLinFactNeighborX="-43297" custLinFactNeighborY="33675"/>
      <dgm:spPr/>
      <dgm:t>
        <a:bodyPr/>
        <a:lstStyle/>
        <a:p>
          <a:endParaRPr lang="en-US"/>
        </a:p>
      </dgm:t>
    </dgm:pt>
    <dgm:pt modelId="{7412C352-C6D6-47ED-BCA3-FDEEE9D278FC}" type="pres">
      <dgm:prSet presAssocID="{E25696F7-8658-4493-915E-17F1E593E6BF}" presName="textBox3b" presStyleLbl="revTx" presStyleIdx="1" presStyleCnt="3" custScaleX="195921" custScaleY="49105" custLinFactNeighborX="-44304" custLinFactNeighborY="50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1D8813-6D6C-40DB-B931-7E5F3E4EA031}" type="pres">
      <dgm:prSet presAssocID="{1BCFDF2B-E194-4E84-8ECE-435A0974D2F4}" presName="bullet3c" presStyleLbl="node1" presStyleIdx="2" presStyleCnt="3" custLinFactX="12951" custLinFactNeighborX="100000" custLinFactNeighborY="60848"/>
      <dgm:spPr/>
      <dgm:t>
        <a:bodyPr/>
        <a:lstStyle/>
        <a:p>
          <a:endParaRPr lang="en-US"/>
        </a:p>
      </dgm:t>
    </dgm:pt>
    <dgm:pt modelId="{CF1AC271-D43A-4C14-B1F8-0B3F1115884E}" type="pres">
      <dgm:prSet presAssocID="{1BCFDF2B-E194-4E84-8ECE-435A0974D2F4}" presName="textBox3c" presStyleLbl="revTx" presStyleIdx="2" presStyleCnt="3" custScaleX="183393" custScaleY="75723" custLinFactNeighborX="-12470" custLinFactNeighborY="134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5028F80-B2D9-4313-A7A6-FD1A85D362CA}" type="presOf" srcId="{E39007A3-6B33-4F20-9F8F-419D4197FFF8}" destId="{69E7DCA6-12B8-4AC4-9AFB-44A48AF095DB}" srcOrd="0" destOrd="0" presId="urn:microsoft.com/office/officeart/2005/8/layout/arrow2"/>
    <dgm:cxn modelId="{193A78C3-3354-4A45-B014-F43858AD9744}" type="presOf" srcId="{2EAA4717-188E-449C-B326-6091584542D6}" destId="{CE5E199E-B4F6-4BF1-B893-8E1A3ABF6BB2}" srcOrd="0" destOrd="0" presId="urn:microsoft.com/office/officeart/2005/8/layout/arrow2"/>
    <dgm:cxn modelId="{2BD20C01-D165-4BAA-AC65-D900AECC17DF}" srcId="{E39007A3-6B33-4F20-9F8F-419D4197FFF8}" destId="{2EAA4717-188E-449C-B326-6091584542D6}" srcOrd="0" destOrd="0" parTransId="{04FC413E-FFE3-4411-B0A4-DDAA5CD0601B}" sibTransId="{B53907D6-F070-48F4-992A-3D6254265D27}"/>
    <dgm:cxn modelId="{59D3F29C-9C8A-459F-AD98-1F70EADECDC5}" type="presOf" srcId="{E25696F7-8658-4493-915E-17F1E593E6BF}" destId="{7412C352-C6D6-47ED-BCA3-FDEEE9D278FC}" srcOrd="0" destOrd="0" presId="urn:microsoft.com/office/officeart/2005/8/layout/arrow2"/>
    <dgm:cxn modelId="{62B6EC92-9DD5-4FB7-88FF-EEEFE58795D3}" type="presOf" srcId="{1BCFDF2B-E194-4E84-8ECE-435A0974D2F4}" destId="{CF1AC271-D43A-4C14-B1F8-0B3F1115884E}" srcOrd="0" destOrd="0" presId="urn:microsoft.com/office/officeart/2005/8/layout/arrow2"/>
    <dgm:cxn modelId="{7441C490-EF7E-4A0F-80E2-B234C9E47870}" srcId="{E39007A3-6B33-4F20-9F8F-419D4197FFF8}" destId="{1BCFDF2B-E194-4E84-8ECE-435A0974D2F4}" srcOrd="2" destOrd="0" parTransId="{3EE32179-FB2C-4F08-898B-68FFADA66648}" sibTransId="{2B5A9653-DF6B-498F-8B2D-81877B109DB9}"/>
    <dgm:cxn modelId="{C4B8F91B-E7D6-4490-AFE6-D8A5E18D2E85}" srcId="{E39007A3-6B33-4F20-9F8F-419D4197FFF8}" destId="{E25696F7-8658-4493-915E-17F1E593E6BF}" srcOrd="1" destOrd="0" parTransId="{2CE23977-4058-4115-BCC6-2F6A5CA6C09C}" sibTransId="{F21984B5-C3EE-4528-A189-212D6E0266AF}"/>
    <dgm:cxn modelId="{055C5C2D-65C8-4EF9-B4C7-63E07F038A1D}" type="presParOf" srcId="{69E7DCA6-12B8-4AC4-9AFB-44A48AF095DB}" destId="{BF016EA0-3CBE-41E4-B0FC-699E9BBECA94}" srcOrd="0" destOrd="0" presId="urn:microsoft.com/office/officeart/2005/8/layout/arrow2"/>
    <dgm:cxn modelId="{0952B71C-C5FD-4784-965F-C35ABF20358C}" type="presParOf" srcId="{69E7DCA6-12B8-4AC4-9AFB-44A48AF095DB}" destId="{F8D0942C-BACF-4FF3-9013-E04374E8BE32}" srcOrd="1" destOrd="0" presId="urn:microsoft.com/office/officeart/2005/8/layout/arrow2"/>
    <dgm:cxn modelId="{594664F2-C80D-432F-8C6E-FE68C7625441}" type="presParOf" srcId="{F8D0942C-BACF-4FF3-9013-E04374E8BE32}" destId="{36FE7348-8DF3-47E7-A4A1-D7A6E5E39CA6}" srcOrd="0" destOrd="0" presId="urn:microsoft.com/office/officeart/2005/8/layout/arrow2"/>
    <dgm:cxn modelId="{2CA2FA6B-89A6-419B-AA40-5114438ED6F2}" type="presParOf" srcId="{F8D0942C-BACF-4FF3-9013-E04374E8BE32}" destId="{CE5E199E-B4F6-4BF1-B893-8E1A3ABF6BB2}" srcOrd="1" destOrd="0" presId="urn:microsoft.com/office/officeart/2005/8/layout/arrow2"/>
    <dgm:cxn modelId="{3FB1A3D6-8431-440A-9A83-BD11F605D2CE}" type="presParOf" srcId="{F8D0942C-BACF-4FF3-9013-E04374E8BE32}" destId="{DC6761B3-C1BA-4866-8407-4B9E70DF7A81}" srcOrd="2" destOrd="0" presId="urn:microsoft.com/office/officeart/2005/8/layout/arrow2"/>
    <dgm:cxn modelId="{133FBD07-F324-4B97-801C-E1926F0BF354}" type="presParOf" srcId="{F8D0942C-BACF-4FF3-9013-E04374E8BE32}" destId="{7412C352-C6D6-47ED-BCA3-FDEEE9D278FC}" srcOrd="3" destOrd="0" presId="urn:microsoft.com/office/officeart/2005/8/layout/arrow2"/>
    <dgm:cxn modelId="{E544B89E-399D-4C1D-86A3-3713E4062515}" type="presParOf" srcId="{F8D0942C-BACF-4FF3-9013-E04374E8BE32}" destId="{C51D8813-6D6C-40DB-B931-7E5F3E4EA031}" srcOrd="4" destOrd="0" presId="urn:microsoft.com/office/officeart/2005/8/layout/arrow2"/>
    <dgm:cxn modelId="{849E692B-BCBE-43D3-B265-464CDD211A6C}" type="presParOf" srcId="{F8D0942C-BACF-4FF3-9013-E04374E8BE32}" destId="{CF1AC271-D43A-4C14-B1F8-0B3F1115884E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2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E351867-216E-464A-B419-F8CCD4144F5B}" type="doc">
      <dgm:prSet loTypeId="urn:microsoft.com/office/officeart/2005/8/layout/cycle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9D543DE-20E5-4A1F-A586-346EFD27C65D}">
      <dgm:prSet phldrT="[Text]"/>
      <dgm:spPr/>
      <dgm:t>
        <a:bodyPr anchor="t" anchorCtr="0"/>
        <a:lstStyle/>
        <a:p>
          <a:pPr algn="l"/>
          <a:r>
            <a:rPr lang="en-US" dirty="0" smtClean="0"/>
            <a:t>Contribution management</a:t>
          </a:r>
        </a:p>
      </dgm:t>
    </dgm:pt>
    <dgm:pt modelId="{C380ABA5-FB3A-42AD-93E8-F9C741CCEDC9}" type="parTrans" cxnId="{D0FDC6E0-1FF1-4CCF-B1EE-9206C1186BC9}">
      <dgm:prSet/>
      <dgm:spPr/>
      <dgm:t>
        <a:bodyPr/>
        <a:lstStyle/>
        <a:p>
          <a:endParaRPr lang="en-US"/>
        </a:p>
      </dgm:t>
    </dgm:pt>
    <dgm:pt modelId="{41C638E2-29FB-48BF-BF39-78D0CFE325B8}" type="sibTrans" cxnId="{D0FDC6E0-1FF1-4CCF-B1EE-9206C1186BC9}">
      <dgm:prSet/>
      <dgm:spPr/>
      <dgm:t>
        <a:bodyPr/>
        <a:lstStyle/>
        <a:p>
          <a:endParaRPr lang="en-US"/>
        </a:p>
      </dgm:t>
    </dgm:pt>
    <dgm:pt modelId="{AB29AF44-B9A1-4765-B999-F8F87B2EB08D}">
      <dgm:prSet phldrT="[Text]" custT="1"/>
      <dgm:spPr/>
      <dgm:t>
        <a:bodyPr/>
        <a:lstStyle/>
        <a:p>
          <a:r>
            <a:rPr lang="en-US" sz="1400" dirty="0" smtClean="0"/>
            <a:t>Package : </a:t>
          </a:r>
          <a:r>
            <a:rPr lang="en-US" sz="1400" dirty="0" err="1" smtClean="0"/>
            <a:t>dll</a:t>
          </a:r>
          <a:r>
            <a:rPr lang="en-US" sz="1400" dirty="0" smtClean="0"/>
            <a:t>, resource</a:t>
          </a:r>
          <a:endParaRPr lang="en-US" sz="1400" dirty="0"/>
        </a:p>
      </dgm:t>
    </dgm:pt>
    <dgm:pt modelId="{B60998E7-B823-4EEA-A380-71BD68B2EC8C}" type="parTrans" cxnId="{850656A7-CA86-4C24-8541-2CC4B9087DF2}">
      <dgm:prSet/>
      <dgm:spPr/>
      <dgm:t>
        <a:bodyPr/>
        <a:lstStyle/>
        <a:p>
          <a:endParaRPr lang="en-US"/>
        </a:p>
      </dgm:t>
    </dgm:pt>
    <dgm:pt modelId="{E2BFC306-8E91-44A4-82C8-6FAA4AF80CE4}" type="sibTrans" cxnId="{850656A7-CA86-4C24-8541-2CC4B9087DF2}">
      <dgm:prSet/>
      <dgm:spPr/>
      <dgm:t>
        <a:bodyPr/>
        <a:lstStyle/>
        <a:p>
          <a:endParaRPr lang="en-US"/>
        </a:p>
      </dgm:t>
    </dgm:pt>
    <dgm:pt modelId="{6D0CC672-B134-4304-889E-2500F8D1634F}">
      <dgm:prSet phldrT="[Text]"/>
      <dgm:spPr/>
      <dgm:t>
        <a:bodyPr/>
        <a:lstStyle/>
        <a:p>
          <a:r>
            <a:rPr lang="en-US" dirty="0" smtClean="0"/>
            <a:t>Lifecycle Management</a:t>
          </a:r>
        </a:p>
        <a:p>
          <a:endParaRPr lang="en-US" dirty="0" smtClean="0"/>
        </a:p>
        <a:p>
          <a:endParaRPr lang="en-US" dirty="0"/>
        </a:p>
      </dgm:t>
    </dgm:pt>
    <dgm:pt modelId="{35BF159F-82C8-4C31-84BB-B98E72556C24}" type="parTrans" cxnId="{32E7BB31-7F69-4C5C-9431-CB477A8E283E}">
      <dgm:prSet/>
      <dgm:spPr/>
      <dgm:t>
        <a:bodyPr/>
        <a:lstStyle/>
        <a:p>
          <a:endParaRPr lang="en-US"/>
        </a:p>
      </dgm:t>
    </dgm:pt>
    <dgm:pt modelId="{FEB690BF-EBAB-4DAD-B34D-19D022FE8C90}" type="sibTrans" cxnId="{32E7BB31-7F69-4C5C-9431-CB477A8E283E}">
      <dgm:prSet/>
      <dgm:spPr/>
      <dgm:t>
        <a:bodyPr/>
        <a:lstStyle/>
        <a:p>
          <a:endParaRPr lang="en-US"/>
        </a:p>
      </dgm:t>
    </dgm:pt>
    <dgm:pt modelId="{54902B56-D116-4BEC-BF4D-758E5488C3BE}">
      <dgm:prSet phldrT="[Text]"/>
      <dgm:spPr/>
      <dgm:t>
        <a:bodyPr/>
        <a:lstStyle/>
        <a:p>
          <a:r>
            <a:rPr lang="en-US" dirty="0" smtClean="0"/>
            <a:t>Pluggable Communication Infrastructure</a:t>
          </a:r>
          <a:endParaRPr lang="en-US" dirty="0"/>
        </a:p>
      </dgm:t>
    </dgm:pt>
    <dgm:pt modelId="{1BD8FAE9-E260-41DD-9E7B-617671E5FDA7}" type="parTrans" cxnId="{1A380437-D45A-4B67-ADE1-D19E3CD65AE0}">
      <dgm:prSet/>
      <dgm:spPr/>
      <dgm:t>
        <a:bodyPr/>
        <a:lstStyle/>
        <a:p>
          <a:endParaRPr lang="en-US"/>
        </a:p>
      </dgm:t>
    </dgm:pt>
    <dgm:pt modelId="{A4B71562-FDF5-42FD-BCD6-4E019CF72B1A}" type="sibTrans" cxnId="{1A380437-D45A-4B67-ADE1-D19E3CD65AE0}">
      <dgm:prSet/>
      <dgm:spPr/>
      <dgm:t>
        <a:bodyPr/>
        <a:lstStyle/>
        <a:p>
          <a:endParaRPr lang="en-US"/>
        </a:p>
      </dgm:t>
    </dgm:pt>
    <dgm:pt modelId="{161C6DE5-0BCF-4CC4-AF5A-24D99BA0877B}">
      <dgm:prSet phldrT="[Text]" custT="1"/>
      <dgm:spPr/>
      <dgm:t>
        <a:bodyPr/>
        <a:lstStyle/>
        <a:p>
          <a:r>
            <a:rPr lang="en-US" sz="1200" dirty="0" smtClean="0"/>
            <a:t>Apache Thrift</a:t>
          </a:r>
          <a:endParaRPr lang="en-US" sz="1200" dirty="0"/>
        </a:p>
      </dgm:t>
    </dgm:pt>
    <dgm:pt modelId="{6A436F21-F6EA-40DA-8374-9C6D2419F9B9}" type="parTrans" cxnId="{0AE96A78-B7F0-4E6C-BF9A-B4EE8B3F36DF}">
      <dgm:prSet/>
      <dgm:spPr/>
      <dgm:t>
        <a:bodyPr/>
        <a:lstStyle/>
        <a:p>
          <a:endParaRPr lang="en-US"/>
        </a:p>
      </dgm:t>
    </dgm:pt>
    <dgm:pt modelId="{6F7F2F1D-D815-47FC-9017-548346AB9E31}" type="sibTrans" cxnId="{0AE96A78-B7F0-4E6C-BF9A-B4EE8B3F36DF}">
      <dgm:prSet/>
      <dgm:spPr/>
      <dgm:t>
        <a:bodyPr/>
        <a:lstStyle/>
        <a:p>
          <a:endParaRPr lang="en-US"/>
        </a:p>
      </dgm:t>
    </dgm:pt>
    <dgm:pt modelId="{8408F95D-85F0-4E21-848A-E7128808F515}">
      <dgm:prSet phldrT="[Text]"/>
      <dgm:spPr>
        <a:solidFill>
          <a:schemeClr val="accent1">
            <a:hueOff val="0"/>
            <a:satOff val="0"/>
            <a:lumOff val="0"/>
          </a:schemeClr>
        </a:solidFill>
      </dgm:spPr>
      <dgm:t>
        <a:bodyPr/>
        <a:lstStyle/>
        <a:p>
          <a:endParaRPr lang="en-US" dirty="0" smtClean="0"/>
        </a:p>
        <a:p>
          <a:r>
            <a:rPr lang="en-US" dirty="0" smtClean="0"/>
            <a:t>Service Discovery &amp; Common services</a:t>
          </a:r>
        </a:p>
      </dgm:t>
    </dgm:pt>
    <dgm:pt modelId="{A55FF0D7-46F7-4181-BE60-A11AB8201ACA}" type="parTrans" cxnId="{2D801F1C-2909-4D4A-8826-FDB614DDB3EC}">
      <dgm:prSet/>
      <dgm:spPr/>
      <dgm:t>
        <a:bodyPr/>
        <a:lstStyle/>
        <a:p>
          <a:endParaRPr lang="en-US"/>
        </a:p>
      </dgm:t>
    </dgm:pt>
    <dgm:pt modelId="{9760EFE7-7C5D-4197-B27C-9AF0C88D0C94}" type="sibTrans" cxnId="{2D801F1C-2909-4D4A-8826-FDB614DDB3EC}">
      <dgm:prSet/>
      <dgm:spPr/>
      <dgm:t>
        <a:bodyPr/>
        <a:lstStyle/>
        <a:p>
          <a:endParaRPr lang="en-US"/>
        </a:p>
      </dgm:t>
    </dgm:pt>
    <dgm:pt modelId="{B8925095-5F23-44E2-AF0A-AC9274527BFF}">
      <dgm:prSet phldrT="[Text]" custT="1"/>
      <dgm:spPr/>
      <dgm:t>
        <a:bodyPr/>
        <a:lstStyle/>
        <a:p>
          <a:r>
            <a:rPr lang="en-US" sz="1400" dirty="0" smtClean="0"/>
            <a:t>Stop</a:t>
          </a:r>
          <a:endParaRPr lang="en-US" sz="1400" dirty="0"/>
        </a:p>
      </dgm:t>
    </dgm:pt>
    <dgm:pt modelId="{2BBF35E9-31D7-4614-810E-9F5E3068E38C}" type="parTrans" cxnId="{B16E0A6D-F96D-4439-958B-0EDD0D930164}">
      <dgm:prSet/>
      <dgm:spPr/>
      <dgm:t>
        <a:bodyPr/>
        <a:lstStyle/>
        <a:p>
          <a:endParaRPr lang="en-US"/>
        </a:p>
      </dgm:t>
    </dgm:pt>
    <dgm:pt modelId="{27223F9A-A544-4F0C-80A6-680A7E42710D}" type="sibTrans" cxnId="{B16E0A6D-F96D-4439-958B-0EDD0D930164}">
      <dgm:prSet/>
      <dgm:spPr/>
      <dgm:t>
        <a:bodyPr/>
        <a:lstStyle/>
        <a:p>
          <a:endParaRPr lang="en-US"/>
        </a:p>
      </dgm:t>
    </dgm:pt>
    <dgm:pt modelId="{DD3362CD-D564-473C-A0AD-7171657DCFC2}">
      <dgm:prSet phldrT="[Text]" custT="1"/>
      <dgm:spPr/>
      <dgm:t>
        <a:bodyPr/>
        <a:lstStyle/>
        <a:p>
          <a:r>
            <a:rPr lang="en-US" sz="1400" dirty="0" smtClean="0"/>
            <a:t>Start</a:t>
          </a:r>
          <a:endParaRPr lang="en-US" sz="1400" dirty="0"/>
        </a:p>
      </dgm:t>
    </dgm:pt>
    <dgm:pt modelId="{56B64008-EBBB-4365-A0EB-DD458B09C5D0}" type="parTrans" cxnId="{C9CAB93C-2FB2-4D11-821D-3DFE1E464A0B}">
      <dgm:prSet/>
      <dgm:spPr/>
      <dgm:t>
        <a:bodyPr/>
        <a:lstStyle/>
        <a:p>
          <a:endParaRPr lang="en-US"/>
        </a:p>
      </dgm:t>
    </dgm:pt>
    <dgm:pt modelId="{F6194517-8220-49AA-A22F-879100F5CCEE}" type="sibTrans" cxnId="{C9CAB93C-2FB2-4D11-821D-3DFE1E464A0B}">
      <dgm:prSet/>
      <dgm:spPr/>
      <dgm:t>
        <a:bodyPr/>
        <a:lstStyle/>
        <a:p>
          <a:endParaRPr lang="en-US"/>
        </a:p>
      </dgm:t>
    </dgm:pt>
    <dgm:pt modelId="{476AA6B8-8553-44FD-B076-084A9A5C2FEE}">
      <dgm:prSet phldrT="[Text]" custT="1"/>
      <dgm:spPr/>
      <dgm:t>
        <a:bodyPr/>
        <a:lstStyle/>
        <a:p>
          <a:r>
            <a:rPr lang="en-US" sz="1400" dirty="0" smtClean="0"/>
            <a:t>Update / upgrade</a:t>
          </a:r>
          <a:endParaRPr lang="en-US" sz="1400" dirty="0"/>
        </a:p>
      </dgm:t>
    </dgm:pt>
    <dgm:pt modelId="{AE80918F-B681-4E9D-BE7D-794B8490DCB1}" type="parTrans" cxnId="{03203642-5D98-43AB-97A5-1C791A19AEDD}">
      <dgm:prSet/>
      <dgm:spPr/>
      <dgm:t>
        <a:bodyPr/>
        <a:lstStyle/>
        <a:p>
          <a:endParaRPr lang="en-US"/>
        </a:p>
      </dgm:t>
    </dgm:pt>
    <dgm:pt modelId="{B061D962-2BA5-4164-8E76-C2A37DBE661D}" type="sibTrans" cxnId="{03203642-5D98-43AB-97A5-1C791A19AEDD}">
      <dgm:prSet/>
      <dgm:spPr/>
      <dgm:t>
        <a:bodyPr/>
        <a:lstStyle/>
        <a:p>
          <a:endParaRPr lang="en-US"/>
        </a:p>
      </dgm:t>
    </dgm:pt>
    <dgm:pt modelId="{C29C8DE7-B142-496C-8C16-7EA354FAE9A5}">
      <dgm:prSet phldrT="[Text]" custT="1"/>
      <dgm:spPr/>
      <dgm:t>
        <a:bodyPr/>
        <a:lstStyle/>
        <a:p>
          <a:r>
            <a:rPr lang="en-US" sz="1400" dirty="0" smtClean="0"/>
            <a:t>Install</a:t>
          </a:r>
          <a:endParaRPr lang="en-US" sz="1400" dirty="0"/>
        </a:p>
      </dgm:t>
    </dgm:pt>
    <dgm:pt modelId="{2549D123-4F86-497F-9ED2-A1A56D56CFC0}" type="parTrans" cxnId="{6D75818E-9F08-486D-BBF4-8072169F8188}">
      <dgm:prSet/>
      <dgm:spPr/>
      <dgm:t>
        <a:bodyPr/>
        <a:lstStyle/>
        <a:p>
          <a:endParaRPr lang="en-US"/>
        </a:p>
      </dgm:t>
    </dgm:pt>
    <dgm:pt modelId="{50CFE311-A050-4FAD-99DF-09D0DD125A47}" type="sibTrans" cxnId="{6D75818E-9F08-486D-BBF4-8072169F8188}">
      <dgm:prSet/>
      <dgm:spPr/>
      <dgm:t>
        <a:bodyPr/>
        <a:lstStyle/>
        <a:p>
          <a:endParaRPr lang="en-US"/>
        </a:p>
      </dgm:t>
    </dgm:pt>
    <dgm:pt modelId="{DFBB3BE0-86AF-41BD-8D25-C33FDAA99CE5}">
      <dgm:prSet phldrT="[Text]" custT="1"/>
      <dgm:spPr/>
      <dgm:t>
        <a:bodyPr/>
        <a:lstStyle/>
        <a:p>
          <a:r>
            <a:rPr lang="en-US" sz="1200" dirty="0" smtClean="0"/>
            <a:t>Configurable Component scope (Stateless, composite)</a:t>
          </a:r>
          <a:endParaRPr lang="en-US" sz="1200" dirty="0"/>
        </a:p>
      </dgm:t>
    </dgm:pt>
    <dgm:pt modelId="{9B855B02-1660-45BD-82DD-59725E8BF8A7}" type="parTrans" cxnId="{8C0012B5-BDCD-4C72-8CC9-89CFEB1A7752}">
      <dgm:prSet/>
      <dgm:spPr/>
      <dgm:t>
        <a:bodyPr/>
        <a:lstStyle/>
        <a:p>
          <a:endParaRPr lang="en-US"/>
        </a:p>
      </dgm:t>
    </dgm:pt>
    <dgm:pt modelId="{7D5E4B49-1731-4C47-9783-228452403195}" type="sibTrans" cxnId="{8C0012B5-BDCD-4C72-8CC9-89CFEB1A7752}">
      <dgm:prSet/>
      <dgm:spPr/>
      <dgm:t>
        <a:bodyPr/>
        <a:lstStyle/>
        <a:p>
          <a:endParaRPr lang="en-US"/>
        </a:p>
      </dgm:t>
    </dgm:pt>
    <dgm:pt modelId="{4B63D359-5856-4F07-9EF5-E4AF59FD9D23}">
      <dgm:prSet phldrT="[Text]" custT="1"/>
      <dgm:spPr/>
      <dgm:t>
        <a:bodyPr/>
        <a:lstStyle/>
        <a:p>
          <a:r>
            <a:rPr lang="en-US" sz="1200" dirty="0" smtClean="0"/>
            <a:t>Callback method (On Init, On destroy, Heartbeat)</a:t>
          </a:r>
          <a:endParaRPr lang="en-US" sz="1200" dirty="0"/>
        </a:p>
      </dgm:t>
    </dgm:pt>
    <dgm:pt modelId="{FBD7D0B5-1D53-4166-9CA9-EB8B0B863D95}" type="parTrans" cxnId="{7221DF95-0DB2-48A2-A4BF-EB17930223F8}">
      <dgm:prSet/>
      <dgm:spPr/>
      <dgm:t>
        <a:bodyPr/>
        <a:lstStyle/>
        <a:p>
          <a:endParaRPr lang="en-US"/>
        </a:p>
      </dgm:t>
    </dgm:pt>
    <dgm:pt modelId="{AF133862-DC1C-408E-8858-65F797495828}" type="sibTrans" cxnId="{7221DF95-0DB2-48A2-A4BF-EB17930223F8}">
      <dgm:prSet/>
      <dgm:spPr/>
      <dgm:t>
        <a:bodyPr/>
        <a:lstStyle/>
        <a:p>
          <a:endParaRPr lang="en-US"/>
        </a:p>
      </dgm:t>
    </dgm:pt>
    <dgm:pt modelId="{7CCFDB6F-6C39-4C38-8A4A-A3625883E039}">
      <dgm:prSet phldrT="[Text]" custT="1"/>
      <dgm:spPr/>
      <dgm:t>
        <a:bodyPr/>
        <a:lstStyle/>
        <a:p>
          <a:r>
            <a:rPr lang="en-US" sz="1200" dirty="0" smtClean="0"/>
            <a:t>Component Dependency Injection</a:t>
          </a:r>
          <a:endParaRPr lang="en-US" sz="1200" dirty="0"/>
        </a:p>
      </dgm:t>
    </dgm:pt>
    <dgm:pt modelId="{0AD50FFF-C684-4499-8594-A5AB15E33A3C}" type="sibTrans" cxnId="{8702D31B-D8B9-45B1-9FA5-715D1232DBB7}">
      <dgm:prSet/>
      <dgm:spPr/>
      <dgm:t>
        <a:bodyPr/>
        <a:lstStyle/>
        <a:p>
          <a:endParaRPr lang="en-US"/>
        </a:p>
      </dgm:t>
    </dgm:pt>
    <dgm:pt modelId="{99EB3CA1-E7C2-462A-B1AD-D5FFAE8631AD}" type="parTrans" cxnId="{8702D31B-D8B9-45B1-9FA5-715D1232DBB7}">
      <dgm:prSet/>
      <dgm:spPr/>
      <dgm:t>
        <a:bodyPr/>
        <a:lstStyle/>
        <a:p>
          <a:endParaRPr lang="en-US"/>
        </a:p>
      </dgm:t>
    </dgm:pt>
    <dgm:pt modelId="{33537F7F-2C2E-4E2D-9089-54111C457F8A}">
      <dgm:prSet phldrT="[Text]" custT="1"/>
      <dgm:spPr/>
      <dgm:t>
        <a:bodyPr/>
        <a:lstStyle/>
        <a:p>
          <a:r>
            <a:rPr lang="en-US" sz="1100" dirty="0" smtClean="0"/>
            <a:t>Preferences /Logging </a:t>
          </a:r>
          <a:endParaRPr lang="en-US" sz="1100" dirty="0"/>
        </a:p>
      </dgm:t>
    </dgm:pt>
    <dgm:pt modelId="{08BCE87C-AC21-4D7C-BFD5-49D19EFE9C55}" type="sibTrans" cxnId="{C270EB3C-9FBF-4DDE-B0C4-E81D95A19269}">
      <dgm:prSet/>
      <dgm:spPr/>
      <dgm:t>
        <a:bodyPr/>
        <a:lstStyle/>
        <a:p>
          <a:endParaRPr lang="en-US"/>
        </a:p>
      </dgm:t>
    </dgm:pt>
    <dgm:pt modelId="{99900D15-8970-43DA-90C4-441A4C5B2C41}" type="parTrans" cxnId="{C270EB3C-9FBF-4DDE-B0C4-E81D95A19269}">
      <dgm:prSet/>
      <dgm:spPr/>
      <dgm:t>
        <a:bodyPr/>
        <a:lstStyle/>
        <a:p>
          <a:endParaRPr lang="en-US"/>
        </a:p>
      </dgm:t>
    </dgm:pt>
    <dgm:pt modelId="{FB844E66-C062-4C3B-99F1-381419173F84}">
      <dgm:prSet phldrT="[Text]" custT="1"/>
      <dgm:spPr/>
      <dgm:t>
        <a:bodyPr/>
        <a:lstStyle/>
        <a:p>
          <a:r>
            <a:rPr lang="en-US" sz="1100" dirty="0" smtClean="0"/>
            <a:t>Lazy and eager discovery</a:t>
          </a:r>
          <a:endParaRPr lang="en-US" sz="1100" dirty="0"/>
        </a:p>
      </dgm:t>
    </dgm:pt>
    <dgm:pt modelId="{2E45C0ED-6985-42F6-ADD4-74BBCAD09E8B}" type="sibTrans" cxnId="{F198BC1D-EE8D-43CD-BF6A-E1A1182F7C4C}">
      <dgm:prSet/>
      <dgm:spPr/>
      <dgm:t>
        <a:bodyPr/>
        <a:lstStyle/>
        <a:p>
          <a:endParaRPr lang="en-US"/>
        </a:p>
      </dgm:t>
    </dgm:pt>
    <dgm:pt modelId="{66BA67F9-3F0B-40CF-B607-F5C4657C63CD}" type="parTrans" cxnId="{F198BC1D-EE8D-43CD-BF6A-E1A1182F7C4C}">
      <dgm:prSet/>
      <dgm:spPr/>
      <dgm:t>
        <a:bodyPr/>
        <a:lstStyle/>
        <a:p>
          <a:endParaRPr lang="en-US"/>
        </a:p>
      </dgm:t>
    </dgm:pt>
    <dgm:pt modelId="{8D077D4F-1D0C-4174-90A5-037BC0E6A25B}">
      <dgm:prSet phldrT="[Text]" custT="1"/>
      <dgm:spPr/>
      <dgm:t>
        <a:bodyPr/>
        <a:lstStyle/>
        <a:p>
          <a:r>
            <a:rPr lang="en-US" sz="1100" dirty="0" smtClean="0"/>
            <a:t>Distributed service discovery</a:t>
          </a:r>
          <a:endParaRPr lang="en-US" sz="1100" dirty="0"/>
        </a:p>
      </dgm:t>
    </dgm:pt>
    <dgm:pt modelId="{3555DB38-C39D-447A-BCAC-67512BE1F78A}" type="sibTrans" cxnId="{CE0489DF-A78A-42DC-AB18-31CC502C3866}">
      <dgm:prSet/>
      <dgm:spPr/>
      <dgm:t>
        <a:bodyPr/>
        <a:lstStyle/>
        <a:p>
          <a:endParaRPr lang="en-US"/>
        </a:p>
      </dgm:t>
    </dgm:pt>
    <dgm:pt modelId="{A2D51D9F-36CC-4975-814C-5E664CC3ABBB}" type="parTrans" cxnId="{CE0489DF-A78A-42DC-AB18-31CC502C3866}">
      <dgm:prSet/>
      <dgm:spPr/>
      <dgm:t>
        <a:bodyPr/>
        <a:lstStyle/>
        <a:p>
          <a:endParaRPr lang="en-US"/>
        </a:p>
      </dgm:t>
    </dgm:pt>
    <dgm:pt modelId="{F914295A-15B6-4F20-94BC-2F5AF76E2FE0}">
      <dgm:prSet custT="1"/>
      <dgm:spPr/>
      <dgm:t>
        <a:bodyPr/>
        <a:lstStyle/>
        <a:p>
          <a:r>
            <a:rPr lang="en-US" sz="1100" dirty="0" smtClean="0"/>
            <a:t>Authentication / Authorization</a:t>
          </a:r>
          <a:endParaRPr lang="en-US" sz="1100" dirty="0"/>
        </a:p>
      </dgm:t>
    </dgm:pt>
    <dgm:pt modelId="{6639ECBF-8BE9-4B94-A788-429DFF7E8E2E}" type="sibTrans" cxnId="{E289D46E-E25E-4BF6-9AC1-8D4BF5B6EE45}">
      <dgm:prSet/>
      <dgm:spPr/>
      <dgm:t>
        <a:bodyPr/>
        <a:lstStyle/>
        <a:p>
          <a:endParaRPr lang="en-US"/>
        </a:p>
      </dgm:t>
    </dgm:pt>
    <dgm:pt modelId="{9812FD18-93DC-4CEB-8253-1E9D5BFCC2AD}" type="parTrans" cxnId="{E289D46E-E25E-4BF6-9AC1-8D4BF5B6EE45}">
      <dgm:prSet/>
      <dgm:spPr/>
      <dgm:t>
        <a:bodyPr/>
        <a:lstStyle/>
        <a:p>
          <a:endParaRPr lang="en-US"/>
        </a:p>
      </dgm:t>
    </dgm:pt>
    <dgm:pt modelId="{FD4842FF-73FF-4950-B804-57F23FF796CB}">
      <dgm:prSet phldrT="[Text]" custT="1"/>
      <dgm:spPr/>
      <dgm:t>
        <a:bodyPr/>
        <a:lstStyle/>
        <a:p>
          <a:endParaRPr lang="en-US" sz="1200" dirty="0"/>
        </a:p>
      </dgm:t>
    </dgm:pt>
    <dgm:pt modelId="{39B1C2C6-0C32-4B5D-BC8C-AB73DB710A35}" type="parTrans" cxnId="{1DF137EA-AB71-44BB-9F99-695445FC9662}">
      <dgm:prSet/>
      <dgm:spPr/>
      <dgm:t>
        <a:bodyPr/>
        <a:lstStyle/>
        <a:p>
          <a:endParaRPr lang="en-US"/>
        </a:p>
      </dgm:t>
    </dgm:pt>
    <dgm:pt modelId="{6F685FDF-5724-4395-B329-E625A5DA8798}" type="sibTrans" cxnId="{1DF137EA-AB71-44BB-9F99-695445FC9662}">
      <dgm:prSet/>
      <dgm:spPr/>
      <dgm:t>
        <a:bodyPr/>
        <a:lstStyle/>
        <a:p>
          <a:endParaRPr lang="en-US"/>
        </a:p>
      </dgm:t>
    </dgm:pt>
    <dgm:pt modelId="{907AC313-DBBF-4FD1-9A2F-CF8604BD7617}">
      <dgm:prSet phldrT="[Text]" custT="1"/>
      <dgm:spPr/>
      <dgm:t>
        <a:bodyPr/>
        <a:lstStyle/>
        <a:p>
          <a:r>
            <a:rPr lang="en-US" sz="1200" dirty="0" err="1" smtClean="0"/>
            <a:t>Trentino</a:t>
          </a:r>
          <a:r>
            <a:rPr lang="en-US" sz="1200" dirty="0" smtClean="0"/>
            <a:t> Communication Engine</a:t>
          </a:r>
          <a:endParaRPr lang="en-US" sz="1200" dirty="0"/>
        </a:p>
      </dgm:t>
    </dgm:pt>
    <dgm:pt modelId="{68C83008-7BEF-4F3F-A69E-1C66062BF61D}" type="parTrans" cxnId="{4AD9C14D-CE2E-4334-9F86-25A3032AB6B4}">
      <dgm:prSet/>
      <dgm:spPr/>
      <dgm:t>
        <a:bodyPr/>
        <a:lstStyle/>
        <a:p>
          <a:endParaRPr lang="en-US"/>
        </a:p>
      </dgm:t>
    </dgm:pt>
    <dgm:pt modelId="{1A35A36D-9E32-4FB2-B9DA-CE9490329732}" type="sibTrans" cxnId="{4AD9C14D-CE2E-4334-9F86-25A3032AB6B4}">
      <dgm:prSet/>
      <dgm:spPr/>
      <dgm:t>
        <a:bodyPr/>
        <a:lstStyle/>
        <a:p>
          <a:endParaRPr lang="en-US"/>
        </a:p>
      </dgm:t>
    </dgm:pt>
    <dgm:pt modelId="{F5FC74F6-B1AC-4A92-9B60-01EB7D32B5C4}">
      <dgm:prSet phldrT="[Text]" custT="1"/>
      <dgm:spPr/>
      <dgm:t>
        <a:bodyPr/>
        <a:lstStyle/>
        <a:p>
          <a:r>
            <a:rPr lang="en-US" sz="1200" dirty="0" smtClean="0"/>
            <a:t>IPC with shared Memory</a:t>
          </a:r>
          <a:endParaRPr lang="en-US" sz="1200" dirty="0"/>
        </a:p>
      </dgm:t>
    </dgm:pt>
    <dgm:pt modelId="{4C56928D-6542-4E81-8377-9450152679A5}" type="parTrans" cxnId="{B2F10B8A-4E60-40C8-AB17-8F32224EAFFD}">
      <dgm:prSet/>
      <dgm:spPr/>
      <dgm:t>
        <a:bodyPr/>
        <a:lstStyle/>
        <a:p>
          <a:endParaRPr lang="en-US"/>
        </a:p>
      </dgm:t>
    </dgm:pt>
    <dgm:pt modelId="{BF800240-4E31-42F0-BFF9-140B5EE4B388}" type="sibTrans" cxnId="{B2F10B8A-4E60-40C8-AB17-8F32224EAFFD}">
      <dgm:prSet/>
      <dgm:spPr/>
      <dgm:t>
        <a:bodyPr/>
        <a:lstStyle/>
        <a:p>
          <a:endParaRPr lang="en-US"/>
        </a:p>
      </dgm:t>
    </dgm:pt>
    <dgm:pt modelId="{8769188C-252A-4C4C-BF15-46BA0CFA037B}">
      <dgm:prSet phldrT="[Text]" custT="1"/>
      <dgm:spPr/>
      <dgm:t>
        <a:bodyPr/>
        <a:lstStyle/>
        <a:p>
          <a:r>
            <a:rPr lang="en-US" sz="1200" dirty="0" err="1" smtClean="0"/>
            <a:t>Bacnet</a:t>
          </a:r>
          <a:r>
            <a:rPr lang="en-US" sz="1200" dirty="0" smtClean="0"/>
            <a:t>, KNX , …</a:t>
          </a:r>
          <a:endParaRPr lang="en-US" sz="1200" dirty="0"/>
        </a:p>
      </dgm:t>
    </dgm:pt>
    <dgm:pt modelId="{4C9E3E28-36DD-4E9A-922A-B89723BE1E1D}" type="parTrans" cxnId="{597C03A2-FAE5-43B4-BE63-21590C79875C}">
      <dgm:prSet/>
      <dgm:spPr/>
      <dgm:t>
        <a:bodyPr/>
        <a:lstStyle/>
        <a:p>
          <a:endParaRPr lang="en-US"/>
        </a:p>
      </dgm:t>
    </dgm:pt>
    <dgm:pt modelId="{5C6C7F90-B0ED-42A5-8172-168CFDA2FD54}" type="sibTrans" cxnId="{597C03A2-FAE5-43B4-BE63-21590C79875C}">
      <dgm:prSet/>
      <dgm:spPr/>
      <dgm:t>
        <a:bodyPr/>
        <a:lstStyle/>
        <a:p>
          <a:endParaRPr lang="en-US"/>
        </a:p>
      </dgm:t>
    </dgm:pt>
    <dgm:pt modelId="{2DA78128-21F3-4EDC-8042-2EC1D330134E}" type="pres">
      <dgm:prSet presAssocID="{3E351867-216E-464A-B419-F8CCD4144F5B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3356ACD-5822-48BD-BC5E-2C9068494AAF}" type="pres">
      <dgm:prSet presAssocID="{3E351867-216E-464A-B419-F8CCD4144F5B}" presName="children" presStyleCnt="0"/>
      <dgm:spPr/>
    </dgm:pt>
    <dgm:pt modelId="{84D99722-04A9-4AAE-97A1-77FAE3B6F454}" type="pres">
      <dgm:prSet presAssocID="{3E351867-216E-464A-B419-F8CCD4144F5B}" presName="child1group" presStyleCnt="0"/>
      <dgm:spPr/>
    </dgm:pt>
    <dgm:pt modelId="{6885832B-6C6E-4489-B9A6-849EE0DA2573}" type="pres">
      <dgm:prSet presAssocID="{3E351867-216E-464A-B419-F8CCD4144F5B}" presName="child1" presStyleLbl="bgAcc1" presStyleIdx="0" presStyleCnt="4" custScaleX="116608"/>
      <dgm:spPr/>
      <dgm:t>
        <a:bodyPr/>
        <a:lstStyle/>
        <a:p>
          <a:endParaRPr lang="en-US"/>
        </a:p>
      </dgm:t>
    </dgm:pt>
    <dgm:pt modelId="{5CA73501-7A3D-47BC-9943-8CED59172D15}" type="pres">
      <dgm:prSet presAssocID="{3E351867-216E-464A-B419-F8CCD4144F5B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460ED3-B0BC-4717-852F-395D7C0DFA09}" type="pres">
      <dgm:prSet presAssocID="{3E351867-216E-464A-B419-F8CCD4144F5B}" presName="child2group" presStyleCnt="0"/>
      <dgm:spPr/>
    </dgm:pt>
    <dgm:pt modelId="{26E7334D-DC63-42F3-87BD-B2AF6B0634F8}" type="pres">
      <dgm:prSet presAssocID="{3E351867-216E-464A-B419-F8CCD4144F5B}" presName="child2" presStyleLbl="bgAcc1" presStyleIdx="1" presStyleCnt="4" custScaleX="144171" custLinFactNeighborX="27885"/>
      <dgm:spPr/>
      <dgm:t>
        <a:bodyPr/>
        <a:lstStyle/>
        <a:p>
          <a:endParaRPr lang="en-US"/>
        </a:p>
      </dgm:t>
    </dgm:pt>
    <dgm:pt modelId="{FB14AA2D-3A37-45B0-855C-F3EDA095E289}" type="pres">
      <dgm:prSet presAssocID="{3E351867-216E-464A-B419-F8CCD4144F5B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29CB38-2677-4475-BB13-2B15254B5468}" type="pres">
      <dgm:prSet presAssocID="{3E351867-216E-464A-B419-F8CCD4144F5B}" presName="child3group" presStyleCnt="0"/>
      <dgm:spPr/>
    </dgm:pt>
    <dgm:pt modelId="{5FCBDFD1-638F-48E8-8018-C9F87B112D20}" type="pres">
      <dgm:prSet presAssocID="{3E351867-216E-464A-B419-F8CCD4144F5B}" presName="child3" presStyleLbl="bgAcc1" presStyleIdx="2" presStyleCnt="4" custScaleX="122287" custLinFactNeighborX="27320" custLinFactNeighborY="-7630"/>
      <dgm:spPr/>
      <dgm:t>
        <a:bodyPr/>
        <a:lstStyle/>
        <a:p>
          <a:endParaRPr lang="en-US"/>
        </a:p>
      </dgm:t>
    </dgm:pt>
    <dgm:pt modelId="{52EB2ABD-BDC0-46F9-B929-2FC76D67881B}" type="pres">
      <dgm:prSet presAssocID="{3E351867-216E-464A-B419-F8CCD4144F5B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DA4AC1-CA54-42E6-A576-C2B11F8E408D}" type="pres">
      <dgm:prSet presAssocID="{3E351867-216E-464A-B419-F8CCD4144F5B}" presName="child4group" presStyleCnt="0"/>
      <dgm:spPr/>
    </dgm:pt>
    <dgm:pt modelId="{D166E8E2-7B4C-4E95-92F4-C2E410662777}" type="pres">
      <dgm:prSet presAssocID="{3E351867-216E-464A-B419-F8CCD4144F5B}" presName="child4" presStyleLbl="bgAcc1" presStyleIdx="3" presStyleCnt="4"/>
      <dgm:spPr/>
      <dgm:t>
        <a:bodyPr/>
        <a:lstStyle/>
        <a:p>
          <a:endParaRPr lang="en-US"/>
        </a:p>
      </dgm:t>
    </dgm:pt>
    <dgm:pt modelId="{30C1A76E-9715-415B-8C90-FE554FE0D35B}" type="pres">
      <dgm:prSet presAssocID="{3E351867-216E-464A-B419-F8CCD4144F5B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D11169-6FAF-4D42-92B1-3B0A2074BEF0}" type="pres">
      <dgm:prSet presAssocID="{3E351867-216E-464A-B419-F8CCD4144F5B}" presName="childPlaceholder" presStyleCnt="0"/>
      <dgm:spPr/>
    </dgm:pt>
    <dgm:pt modelId="{6B610D0D-0294-4100-87BD-54C133A7F4B2}" type="pres">
      <dgm:prSet presAssocID="{3E351867-216E-464A-B419-F8CCD4144F5B}" presName="circle" presStyleCnt="0"/>
      <dgm:spPr/>
    </dgm:pt>
    <dgm:pt modelId="{D6F981C1-4E7B-4017-A926-98D98C241897}" type="pres">
      <dgm:prSet presAssocID="{3E351867-216E-464A-B419-F8CCD4144F5B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3FEB91-AA31-45A6-88CF-9308082D46AF}" type="pres">
      <dgm:prSet presAssocID="{3E351867-216E-464A-B419-F8CCD4144F5B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D3FD78-B3AB-45CF-AE75-93243CACF2EB}" type="pres">
      <dgm:prSet presAssocID="{3E351867-216E-464A-B419-F8CCD4144F5B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78C723-495C-41FA-87B8-C5203E28E930}" type="pres">
      <dgm:prSet presAssocID="{3E351867-216E-464A-B419-F8CCD4144F5B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5BAD35-CB01-4DFD-A752-120548D851A8}" type="pres">
      <dgm:prSet presAssocID="{3E351867-216E-464A-B419-F8CCD4144F5B}" presName="quadrantPlaceholder" presStyleCnt="0"/>
      <dgm:spPr/>
    </dgm:pt>
    <dgm:pt modelId="{1A0CE849-D2A0-47EF-A074-F9E490B73665}" type="pres">
      <dgm:prSet presAssocID="{3E351867-216E-464A-B419-F8CCD4144F5B}" presName="center1" presStyleLbl="fgShp" presStyleIdx="0" presStyleCnt="2"/>
      <dgm:spPr/>
    </dgm:pt>
    <dgm:pt modelId="{B8E8D1A6-C432-4460-B607-82E679E3177B}" type="pres">
      <dgm:prSet presAssocID="{3E351867-216E-464A-B419-F8CCD4144F5B}" presName="center2" presStyleLbl="fgShp" presStyleIdx="1" presStyleCnt="2"/>
      <dgm:spPr/>
    </dgm:pt>
  </dgm:ptLst>
  <dgm:cxnLst>
    <dgm:cxn modelId="{E5AEB6D5-0C8C-4CE9-8E27-A7A731945FB1}" type="presOf" srcId="{F5FC74F6-B1AC-4A92-9B60-01EB7D32B5C4}" destId="{52EB2ABD-BDC0-46F9-B929-2FC76D67881B}" srcOrd="1" destOrd="2" presId="urn:microsoft.com/office/officeart/2005/8/layout/cycle4"/>
    <dgm:cxn modelId="{A8D04D8F-8D6E-49B3-84E7-9889270C986D}" type="presOf" srcId="{161C6DE5-0BCF-4CC4-AF5A-24D99BA0877B}" destId="{5FCBDFD1-638F-48E8-8018-C9F87B112D20}" srcOrd="0" destOrd="1" presId="urn:microsoft.com/office/officeart/2005/8/layout/cycle4"/>
    <dgm:cxn modelId="{E7FE92FB-1FED-4FED-A267-D68031533E99}" type="presOf" srcId="{F914295A-15B6-4F20-94BC-2F5AF76E2FE0}" destId="{30C1A76E-9715-415B-8C90-FE554FE0D35B}" srcOrd="1" destOrd="3" presId="urn:microsoft.com/office/officeart/2005/8/layout/cycle4"/>
    <dgm:cxn modelId="{085C7009-D4FC-44CB-B001-6A943C0CB636}" type="presOf" srcId="{8D077D4F-1D0C-4174-90A5-037BC0E6A25B}" destId="{30C1A76E-9715-415B-8C90-FE554FE0D35B}" srcOrd="1" destOrd="0" presId="urn:microsoft.com/office/officeart/2005/8/layout/cycle4"/>
    <dgm:cxn modelId="{4ED3B4BD-77B1-4293-9AA0-9F2EA9925188}" type="presOf" srcId="{DFBB3BE0-86AF-41BD-8D25-C33FDAA99CE5}" destId="{FB14AA2D-3A37-45B0-855C-F3EDA095E289}" srcOrd="1" destOrd="2" presId="urn:microsoft.com/office/officeart/2005/8/layout/cycle4"/>
    <dgm:cxn modelId="{CCE02FB7-FD8D-4CF1-89DE-104B5A45A965}" type="presOf" srcId="{33537F7F-2C2E-4E2D-9089-54111C457F8A}" destId="{30C1A76E-9715-415B-8C90-FE554FE0D35B}" srcOrd="1" destOrd="2" presId="urn:microsoft.com/office/officeart/2005/8/layout/cycle4"/>
    <dgm:cxn modelId="{B16E0A6D-F96D-4439-958B-0EDD0D930164}" srcId="{B9D543DE-20E5-4A1F-A586-346EFD27C65D}" destId="{B8925095-5F23-44E2-AF0A-AC9274527BFF}" srcOrd="3" destOrd="0" parTransId="{2BBF35E9-31D7-4614-810E-9F5E3068E38C}" sibTransId="{27223F9A-A544-4F0C-80A6-680A7E42710D}"/>
    <dgm:cxn modelId="{7221DF95-0DB2-48A2-A4BF-EB17930223F8}" srcId="{6D0CC672-B134-4304-889E-2500F8D1634F}" destId="{4B63D359-5856-4F07-9EF5-E4AF59FD9D23}" srcOrd="1" destOrd="0" parTransId="{FBD7D0B5-1D53-4166-9CA9-EB8B0B863D95}" sibTransId="{AF133862-DC1C-408E-8858-65F797495828}"/>
    <dgm:cxn modelId="{E5075515-EBB4-47EA-B0FD-A9CB533E3A61}" type="presOf" srcId="{B8925095-5F23-44E2-AF0A-AC9274527BFF}" destId="{6885832B-6C6E-4489-B9A6-849EE0DA2573}" srcOrd="0" destOrd="3" presId="urn:microsoft.com/office/officeart/2005/8/layout/cycle4"/>
    <dgm:cxn modelId="{B2F10B8A-4E60-40C8-AB17-8F32224EAFFD}" srcId="{54902B56-D116-4BEC-BF4D-758E5488C3BE}" destId="{F5FC74F6-B1AC-4A92-9B60-01EB7D32B5C4}" srcOrd="2" destOrd="0" parTransId="{4C56928D-6542-4E81-8377-9450152679A5}" sibTransId="{BF800240-4E31-42F0-BFF9-140B5EE4B388}"/>
    <dgm:cxn modelId="{6D75818E-9F08-486D-BBF4-8072169F8188}" srcId="{B9D543DE-20E5-4A1F-A586-346EFD27C65D}" destId="{C29C8DE7-B142-496C-8C16-7EA354FAE9A5}" srcOrd="1" destOrd="0" parTransId="{2549D123-4F86-497F-9ED2-A1A56D56CFC0}" sibTransId="{50CFE311-A050-4FAD-99DF-09D0DD125A47}"/>
    <dgm:cxn modelId="{5A96B1F9-E12B-47DA-B1ED-65E0A74D764F}" type="presOf" srcId="{3E351867-216E-464A-B419-F8CCD4144F5B}" destId="{2DA78128-21F3-4EDC-8042-2EC1D330134E}" srcOrd="0" destOrd="0" presId="urn:microsoft.com/office/officeart/2005/8/layout/cycle4"/>
    <dgm:cxn modelId="{9FFB8081-A810-4B72-B210-6991087DF839}" type="presOf" srcId="{8769188C-252A-4C4C-BF15-46BA0CFA037B}" destId="{52EB2ABD-BDC0-46F9-B929-2FC76D67881B}" srcOrd="1" destOrd="3" presId="urn:microsoft.com/office/officeart/2005/8/layout/cycle4"/>
    <dgm:cxn modelId="{150C622C-191C-4463-8C37-83731CF83046}" type="presOf" srcId="{DD3362CD-D564-473C-A0AD-7171657DCFC2}" destId="{6885832B-6C6E-4489-B9A6-849EE0DA2573}" srcOrd="0" destOrd="2" presId="urn:microsoft.com/office/officeart/2005/8/layout/cycle4"/>
    <dgm:cxn modelId="{2773E4DE-45C1-49AF-AB39-715F4CC65C9E}" type="presOf" srcId="{FB844E66-C062-4C3B-99F1-381419173F84}" destId="{D166E8E2-7B4C-4E95-92F4-C2E410662777}" srcOrd="0" destOrd="1" presId="urn:microsoft.com/office/officeart/2005/8/layout/cycle4"/>
    <dgm:cxn modelId="{07C4153F-B9B6-4978-9EA2-7D2080DCBA4B}" type="presOf" srcId="{F914295A-15B6-4F20-94BC-2F5AF76E2FE0}" destId="{D166E8E2-7B4C-4E95-92F4-C2E410662777}" srcOrd="0" destOrd="3" presId="urn:microsoft.com/office/officeart/2005/8/layout/cycle4"/>
    <dgm:cxn modelId="{D13AAF0D-95DE-425A-AB02-96D48F22E8CF}" type="presOf" srcId="{B8925095-5F23-44E2-AF0A-AC9274527BFF}" destId="{5CA73501-7A3D-47BC-9943-8CED59172D15}" srcOrd="1" destOrd="3" presId="urn:microsoft.com/office/officeart/2005/8/layout/cycle4"/>
    <dgm:cxn modelId="{3FA970B2-731B-4220-8A72-D0900CAA6A58}" type="presOf" srcId="{33537F7F-2C2E-4E2D-9089-54111C457F8A}" destId="{D166E8E2-7B4C-4E95-92F4-C2E410662777}" srcOrd="0" destOrd="2" presId="urn:microsoft.com/office/officeart/2005/8/layout/cycle4"/>
    <dgm:cxn modelId="{A3C462EA-9963-455B-9265-4D68D63A0766}" type="presOf" srcId="{6D0CC672-B134-4304-889E-2500F8D1634F}" destId="{493FEB91-AA31-45A6-88CF-9308082D46AF}" srcOrd="0" destOrd="0" presId="urn:microsoft.com/office/officeart/2005/8/layout/cycle4"/>
    <dgm:cxn modelId="{3AF5F1F1-B78A-4592-9247-51FB434AE018}" type="presOf" srcId="{8408F95D-85F0-4E21-848A-E7128808F515}" destId="{3778C723-495C-41FA-87B8-C5203E28E930}" srcOrd="0" destOrd="0" presId="urn:microsoft.com/office/officeart/2005/8/layout/cycle4"/>
    <dgm:cxn modelId="{8702D31B-D8B9-45B1-9FA5-715D1232DBB7}" srcId="{6D0CC672-B134-4304-889E-2500F8D1634F}" destId="{7CCFDB6F-6C39-4C38-8A4A-A3625883E039}" srcOrd="0" destOrd="0" parTransId="{99EB3CA1-E7C2-462A-B1AD-D5FFAE8631AD}" sibTransId="{0AD50FFF-C684-4499-8594-A5AB15E33A3C}"/>
    <dgm:cxn modelId="{5C4FADED-F2AC-4A70-8DA3-62DCACAC589E}" type="presOf" srcId="{476AA6B8-8553-44FD-B076-084A9A5C2FEE}" destId="{6885832B-6C6E-4489-B9A6-849EE0DA2573}" srcOrd="0" destOrd="4" presId="urn:microsoft.com/office/officeart/2005/8/layout/cycle4"/>
    <dgm:cxn modelId="{0E1D9F03-88EF-4D58-8EE2-8857A906DD11}" type="presOf" srcId="{AB29AF44-B9A1-4765-B999-F8F87B2EB08D}" destId="{5CA73501-7A3D-47BC-9943-8CED59172D15}" srcOrd="1" destOrd="0" presId="urn:microsoft.com/office/officeart/2005/8/layout/cycle4"/>
    <dgm:cxn modelId="{32E7BB31-7F69-4C5C-9431-CB477A8E283E}" srcId="{3E351867-216E-464A-B419-F8CCD4144F5B}" destId="{6D0CC672-B134-4304-889E-2500F8D1634F}" srcOrd="1" destOrd="0" parTransId="{35BF159F-82C8-4C31-84BB-B98E72556C24}" sibTransId="{FEB690BF-EBAB-4DAD-B34D-19D022FE8C90}"/>
    <dgm:cxn modelId="{1DF137EA-AB71-44BB-9F99-695445FC9662}" srcId="{54902B56-D116-4BEC-BF4D-758E5488C3BE}" destId="{FD4842FF-73FF-4950-B804-57F23FF796CB}" srcOrd="4" destOrd="0" parTransId="{39B1C2C6-0C32-4B5D-BC8C-AB73DB710A35}" sibTransId="{6F685FDF-5724-4395-B329-E625A5DA8798}"/>
    <dgm:cxn modelId="{48BDF9CA-F966-4948-AAE1-A494A38F31F1}" type="presOf" srcId="{7CCFDB6F-6C39-4C38-8A4A-A3625883E039}" destId="{26E7334D-DC63-42F3-87BD-B2AF6B0634F8}" srcOrd="0" destOrd="0" presId="urn:microsoft.com/office/officeart/2005/8/layout/cycle4"/>
    <dgm:cxn modelId="{E289D46E-E25E-4BF6-9AC1-8D4BF5B6EE45}" srcId="{8408F95D-85F0-4E21-848A-E7128808F515}" destId="{F914295A-15B6-4F20-94BC-2F5AF76E2FE0}" srcOrd="3" destOrd="0" parTransId="{9812FD18-93DC-4CEB-8253-1E9D5BFCC2AD}" sibTransId="{6639ECBF-8BE9-4B94-A788-429DFF7E8E2E}"/>
    <dgm:cxn modelId="{CB52D975-C78D-46EC-9CE1-33834E856C7C}" type="presOf" srcId="{8769188C-252A-4C4C-BF15-46BA0CFA037B}" destId="{5FCBDFD1-638F-48E8-8018-C9F87B112D20}" srcOrd="0" destOrd="3" presId="urn:microsoft.com/office/officeart/2005/8/layout/cycle4"/>
    <dgm:cxn modelId="{D190B85D-79F7-479B-9B47-66B5D4FD5817}" type="presOf" srcId="{FD4842FF-73FF-4950-B804-57F23FF796CB}" destId="{52EB2ABD-BDC0-46F9-B929-2FC76D67881B}" srcOrd="1" destOrd="4" presId="urn:microsoft.com/office/officeart/2005/8/layout/cycle4"/>
    <dgm:cxn modelId="{F198BC1D-EE8D-43CD-BF6A-E1A1182F7C4C}" srcId="{8408F95D-85F0-4E21-848A-E7128808F515}" destId="{FB844E66-C062-4C3B-99F1-381419173F84}" srcOrd="1" destOrd="0" parTransId="{66BA67F9-3F0B-40CF-B607-F5C4657C63CD}" sibTransId="{2E45C0ED-6985-42F6-ADD4-74BBCAD09E8B}"/>
    <dgm:cxn modelId="{670115A6-C6EF-4A01-B646-9819109AF2D4}" type="presOf" srcId="{FB844E66-C062-4C3B-99F1-381419173F84}" destId="{30C1A76E-9715-415B-8C90-FE554FE0D35B}" srcOrd="1" destOrd="1" presId="urn:microsoft.com/office/officeart/2005/8/layout/cycle4"/>
    <dgm:cxn modelId="{1AFA21D9-D8B3-4F65-9630-F0814423D1EA}" type="presOf" srcId="{7CCFDB6F-6C39-4C38-8A4A-A3625883E039}" destId="{FB14AA2D-3A37-45B0-855C-F3EDA095E289}" srcOrd="1" destOrd="0" presId="urn:microsoft.com/office/officeart/2005/8/layout/cycle4"/>
    <dgm:cxn modelId="{42DBB4FA-DBDE-4DFA-8580-40C4FFA4AB87}" type="presOf" srcId="{F5FC74F6-B1AC-4A92-9B60-01EB7D32B5C4}" destId="{5FCBDFD1-638F-48E8-8018-C9F87B112D20}" srcOrd="0" destOrd="2" presId="urn:microsoft.com/office/officeart/2005/8/layout/cycle4"/>
    <dgm:cxn modelId="{34C9600B-2D2E-4C1F-8CC9-9A335F781128}" type="presOf" srcId="{907AC313-DBBF-4FD1-9A2F-CF8604BD7617}" destId="{5FCBDFD1-638F-48E8-8018-C9F87B112D20}" srcOrd="0" destOrd="0" presId="urn:microsoft.com/office/officeart/2005/8/layout/cycle4"/>
    <dgm:cxn modelId="{03203642-5D98-43AB-97A5-1C791A19AEDD}" srcId="{B9D543DE-20E5-4A1F-A586-346EFD27C65D}" destId="{476AA6B8-8553-44FD-B076-084A9A5C2FEE}" srcOrd="4" destOrd="0" parTransId="{AE80918F-B681-4E9D-BE7D-794B8490DCB1}" sibTransId="{B061D962-2BA5-4164-8E76-C2A37DBE661D}"/>
    <dgm:cxn modelId="{CE0489DF-A78A-42DC-AB18-31CC502C3866}" srcId="{8408F95D-85F0-4E21-848A-E7128808F515}" destId="{8D077D4F-1D0C-4174-90A5-037BC0E6A25B}" srcOrd="0" destOrd="0" parTransId="{A2D51D9F-36CC-4975-814C-5E664CC3ABBB}" sibTransId="{3555DB38-C39D-447A-BCAC-67512BE1F78A}"/>
    <dgm:cxn modelId="{9FCFDBA9-5AB4-434E-A72A-2C43DEDBEF7B}" type="presOf" srcId="{FD4842FF-73FF-4950-B804-57F23FF796CB}" destId="{5FCBDFD1-638F-48E8-8018-C9F87B112D20}" srcOrd="0" destOrd="4" presId="urn:microsoft.com/office/officeart/2005/8/layout/cycle4"/>
    <dgm:cxn modelId="{6E1E3CC8-7766-49DF-A053-706530EA14AA}" type="presOf" srcId="{8D077D4F-1D0C-4174-90A5-037BC0E6A25B}" destId="{D166E8E2-7B4C-4E95-92F4-C2E410662777}" srcOrd="0" destOrd="0" presId="urn:microsoft.com/office/officeart/2005/8/layout/cycle4"/>
    <dgm:cxn modelId="{11A6EFCB-4959-4D91-919E-60852A7344C0}" type="presOf" srcId="{DD3362CD-D564-473C-A0AD-7171657DCFC2}" destId="{5CA73501-7A3D-47BC-9943-8CED59172D15}" srcOrd="1" destOrd="2" presId="urn:microsoft.com/office/officeart/2005/8/layout/cycle4"/>
    <dgm:cxn modelId="{6601ABED-1745-4437-8C72-91D4EBCFB978}" type="presOf" srcId="{476AA6B8-8553-44FD-B076-084A9A5C2FEE}" destId="{5CA73501-7A3D-47BC-9943-8CED59172D15}" srcOrd="1" destOrd="4" presId="urn:microsoft.com/office/officeart/2005/8/layout/cycle4"/>
    <dgm:cxn modelId="{597C03A2-FAE5-43B4-BE63-21590C79875C}" srcId="{54902B56-D116-4BEC-BF4D-758E5488C3BE}" destId="{8769188C-252A-4C4C-BF15-46BA0CFA037B}" srcOrd="3" destOrd="0" parTransId="{4C9E3E28-36DD-4E9A-922A-B89723BE1E1D}" sibTransId="{5C6C7F90-B0ED-42A5-8172-168CFDA2FD54}"/>
    <dgm:cxn modelId="{FEA65CEB-9ABA-4DAC-A32E-F8F6BAF667D3}" type="presOf" srcId="{907AC313-DBBF-4FD1-9A2F-CF8604BD7617}" destId="{52EB2ABD-BDC0-46F9-B929-2FC76D67881B}" srcOrd="1" destOrd="0" presId="urn:microsoft.com/office/officeart/2005/8/layout/cycle4"/>
    <dgm:cxn modelId="{850656A7-CA86-4C24-8541-2CC4B9087DF2}" srcId="{B9D543DE-20E5-4A1F-A586-346EFD27C65D}" destId="{AB29AF44-B9A1-4765-B999-F8F87B2EB08D}" srcOrd="0" destOrd="0" parTransId="{B60998E7-B823-4EEA-A380-71BD68B2EC8C}" sibTransId="{E2BFC306-8E91-44A4-82C8-6FAA4AF80CE4}"/>
    <dgm:cxn modelId="{0923C811-6CE1-4366-ACCB-B17D5B06A448}" type="presOf" srcId="{AB29AF44-B9A1-4765-B999-F8F87B2EB08D}" destId="{6885832B-6C6E-4489-B9A6-849EE0DA2573}" srcOrd="0" destOrd="0" presId="urn:microsoft.com/office/officeart/2005/8/layout/cycle4"/>
    <dgm:cxn modelId="{C270EB3C-9FBF-4DDE-B0C4-E81D95A19269}" srcId="{8408F95D-85F0-4E21-848A-E7128808F515}" destId="{33537F7F-2C2E-4E2D-9089-54111C457F8A}" srcOrd="2" destOrd="0" parTransId="{99900D15-8970-43DA-90C4-441A4C5B2C41}" sibTransId="{08BCE87C-AC21-4D7C-BFD5-49D19EFE9C55}"/>
    <dgm:cxn modelId="{C9CAB93C-2FB2-4D11-821D-3DFE1E464A0B}" srcId="{B9D543DE-20E5-4A1F-A586-346EFD27C65D}" destId="{DD3362CD-D564-473C-A0AD-7171657DCFC2}" srcOrd="2" destOrd="0" parTransId="{56B64008-EBBB-4365-A0EB-DD458B09C5D0}" sibTransId="{F6194517-8220-49AA-A22F-879100F5CCEE}"/>
    <dgm:cxn modelId="{D0FDC6E0-1FF1-4CCF-B1EE-9206C1186BC9}" srcId="{3E351867-216E-464A-B419-F8CCD4144F5B}" destId="{B9D543DE-20E5-4A1F-A586-346EFD27C65D}" srcOrd="0" destOrd="0" parTransId="{C380ABA5-FB3A-42AD-93E8-F9C741CCEDC9}" sibTransId="{41C638E2-29FB-48BF-BF39-78D0CFE325B8}"/>
    <dgm:cxn modelId="{C9E0E7FD-CFAE-4BF2-9580-026F2986C9CF}" type="presOf" srcId="{C29C8DE7-B142-496C-8C16-7EA354FAE9A5}" destId="{5CA73501-7A3D-47BC-9943-8CED59172D15}" srcOrd="1" destOrd="1" presId="urn:microsoft.com/office/officeart/2005/8/layout/cycle4"/>
    <dgm:cxn modelId="{0C8BA59F-CC02-4808-A2BB-7C7B196EBC3A}" type="presOf" srcId="{B9D543DE-20E5-4A1F-A586-346EFD27C65D}" destId="{D6F981C1-4E7B-4017-A926-98D98C241897}" srcOrd="0" destOrd="0" presId="urn:microsoft.com/office/officeart/2005/8/layout/cycle4"/>
    <dgm:cxn modelId="{2D801F1C-2909-4D4A-8826-FDB614DDB3EC}" srcId="{3E351867-216E-464A-B419-F8CCD4144F5B}" destId="{8408F95D-85F0-4E21-848A-E7128808F515}" srcOrd="3" destOrd="0" parTransId="{A55FF0D7-46F7-4181-BE60-A11AB8201ACA}" sibTransId="{9760EFE7-7C5D-4197-B27C-9AF0C88D0C94}"/>
    <dgm:cxn modelId="{E5F31193-E170-48F9-AF4A-7E1BF97D763F}" type="presOf" srcId="{4B63D359-5856-4F07-9EF5-E4AF59FD9D23}" destId="{FB14AA2D-3A37-45B0-855C-F3EDA095E289}" srcOrd="1" destOrd="1" presId="urn:microsoft.com/office/officeart/2005/8/layout/cycle4"/>
    <dgm:cxn modelId="{8C0012B5-BDCD-4C72-8CC9-89CFEB1A7752}" srcId="{6D0CC672-B134-4304-889E-2500F8D1634F}" destId="{DFBB3BE0-86AF-41BD-8D25-C33FDAA99CE5}" srcOrd="2" destOrd="0" parTransId="{9B855B02-1660-45BD-82DD-59725E8BF8A7}" sibTransId="{7D5E4B49-1731-4C47-9783-228452403195}"/>
    <dgm:cxn modelId="{B5B6DF7E-D281-453A-9803-BCCE520297E9}" type="presOf" srcId="{4B63D359-5856-4F07-9EF5-E4AF59FD9D23}" destId="{26E7334D-DC63-42F3-87BD-B2AF6B0634F8}" srcOrd="0" destOrd="1" presId="urn:microsoft.com/office/officeart/2005/8/layout/cycle4"/>
    <dgm:cxn modelId="{894F8F3C-BC33-4241-81BF-6042ED96508A}" type="presOf" srcId="{DFBB3BE0-86AF-41BD-8D25-C33FDAA99CE5}" destId="{26E7334D-DC63-42F3-87BD-B2AF6B0634F8}" srcOrd="0" destOrd="2" presId="urn:microsoft.com/office/officeart/2005/8/layout/cycle4"/>
    <dgm:cxn modelId="{4AD9C14D-CE2E-4334-9F86-25A3032AB6B4}" srcId="{54902B56-D116-4BEC-BF4D-758E5488C3BE}" destId="{907AC313-DBBF-4FD1-9A2F-CF8604BD7617}" srcOrd="0" destOrd="0" parTransId="{68C83008-7BEF-4F3F-A69E-1C66062BF61D}" sibTransId="{1A35A36D-9E32-4FB2-B9DA-CE9490329732}"/>
    <dgm:cxn modelId="{A119DFCC-D947-4457-A11C-DDD01926BB32}" type="presOf" srcId="{C29C8DE7-B142-496C-8C16-7EA354FAE9A5}" destId="{6885832B-6C6E-4489-B9A6-849EE0DA2573}" srcOrd="0" destOrd="1" presId="urn:microsoft.com/office/officeart/2005/8/layout/cycle4"/>
    <dgm:cxn modelId="{80455BBF-53D3-4A0A-9C00-88A9FD65B3A2}" type="presOf" srcId="{54902B56-D116-4BEC-BF4D-758E5488C3BE}" destId="{6CD3FD78-B3AB-45CF-AE75-93243CACF2EB}" srcOrd="0" destOrd="0" presId="urn:microsoft.com/office/officeart/2005/8/layout/cycle4"/>
    <dgm:cxn modelId="{1A380437-D45A-4B67-ADE1-D19E3CD65AE0}" srcId="{3E351867-216E-464A-B419-F8CCD4144F5B}" destId="{54902B56-D116-4BEC-BF4D-758E5488C3BE}" srcOrd="2" destOrd="0" parTransId="{1BD8FAE9-E260-41DD-9E7B-617671E5FDA7}" sibTransId="{A4B71562-FDF5-42FD-BCD6-4E019CF72B1A}"/>
    <dgm:cxn modelId="{0AE96A78-B7F0-4E6C-BF9A-B4EE8B3F36DF}" srcId="{54902B56-D116-4BEC-BF4D-758E5488C3BE}" destId="{161C6DE5-0BCF-4CC4-AF5A-24D99BA0877B}" srcOrd="1" destOrd="0" parTransId="{6A436F21-F6EA-40DA-8374-9C6D2419F9B9}" sibTransId="{6F7F2F1D-D815-47FC-9017-548346AB9E31}"/>
    <dgm:cxn modelId="{57E8AA1C-4AF3-469D-8C08-E05F71B42FD6}" type="presOf" srcId="{161C6DE5-0BCF-4CC4-AF5A-24D99BA0877B}" destId="{52EB2ABD-BDC0-46F9-B929-2FC76D67881B}" srcOrd="1" destOrd="1" presId="urn:microsoft.com/office/officeart/2005/8/layout/cycle4"/>
    <dgm:cxn modelId="{F55EEFB1-3CAF-41E2-965C-6306E46627F2}" type="presParOf" srcId="{2DA78128-21F3-4EDC-8042-2EC1D330134E}" destId="{23356ACD-5822-48BD-BC5E-2C9068494AAF}" srcOrd="0" destOrd="0" presId="urn:microsoft.com/office/officeart/2005/8/layout/cycle4"/>
    <dgm:cxn modelId="{BF1D30E2-88AC-41CD-9F06-A76C476C1F14}" type="presParOf" srcId="{23356ACD-5822-48BD-BC5E-2C9068494AAF}" destId="{84D99722-04A9-4AAE-97A1-77FAE3B6F454}" srcOrd="0" destOrd="0" presId="urn:microsoft.com/office/officeart/2005/8/layout/cycle4"/>
    <dgm:cxn modelId="{FC1C9011-1BE7-4702-B1D9-43836157E96C}" type="presParOf" srcId="{84D99722-04A9-4AAE-97A1-77FAE3B6F454}" destId="{6885832B-6C6E-4489-B9A6-849EE0DA2573}" srcOrd="0" destOrd="0" presId="urn:microsoft.com/office/officeart/2005/8/layout/cycle4"/>
    <dgm:cxn modelId="{CF092E56-1319-4AE9-A324-A4769279B8B0}" type="presParOf" srcId="{84D99722-04A9-4AAE-97A1-77FAE3B6F454}" destId="{5CA73501-7A3D-47BC-9943-8CED59172D15}" srcOrd="1" destOrd="0" presId="urn:microsoft.com/office/officeart/2005/8/layout/cycle4"/>
    <dgm:cxn modelId="{F5326F86-5830-40A7-A568-0D811EA23CD9}" type="presParOf" srcId="{23356ACD-5822-48BD-BC5E-2C9068494AAF}" destId="{A4460ED3-B0BC-4717-852F-395D7C0DFA09}" srcOrd="1" destOrd="0" presId="urn:microsoft.com/office/officeart/2005/8/layout/cycle4"/>
    <dgm:cxn modelId="{88979C11-F718-44A3-9C28-9457680065C3}" type="presParOf" srcId="{A4460ED3-B0BC-4717-852F-395D7C0DFA09}" destId="{26E7334D-DC63-42F3-87BD-B2AF6B0634F8}" srcOrd="0" destOrd="0" presId="urn:microsoft.com/office/officeart/2005/8/layout/cycle4"/>
    <dgm:cxn modelId="{14C924BD-D30D-4010-A28C-8245E07039F5}" type="presParOf" srcId="{A4460ED3-B0BC-4717-852F-395D7C0DFA09}" destId="{FB14AA2D-3A37-45B0-855C-F3EDA095E289}" srcOrd="1" destOrd="0" presId="urn:microsoft.com/office/officeart/2005/8/layout/cycle4"/>
    <dgm:cxn modelId="{C145FFE0-8C78-4E0F-9971-93DE1FB17A8B}" type="presParOf" srcId="{23356ACD-5822-48BD-BC5E-2C9068494AAF}" destId="{9D29CB38-2677-4475-BB13-2B15254B5468}" srcOrd="2" destOrd="0" presId="urn:microsoft.com/office/officeart/2005/8/layout/cycle4"/>
    <dgm:cxn modelId="{61DC517C-7273-4DC8-AB2C-61F2BDBE71CE}" type="presParOf" srcId="{9D29CB38-2677-4475-BB13-2B15254B5468}" destId="{5FCBDFD1-638F-48E8-8018-C9F87B112D20}" srcOrd="0" destOrd="0" presId="urn:microsoft.com/office/officeart/2005/8/layout/cycle4"/>
    <dgm:cxn modelId="{9BD26AF1-208B-4E72-8C3B-140275D8E3ED}" type="presParOf" srcId="{9D29CB38-2677-4475-BB13-2B15254B5468}" destId="{52EB2ABD-BDC0-46F9-B929-2FC76D67881B}" srcOrd="1" destOrd="0" presId="urn:microsoft.com/office/officeart/2005/8/layout/cycle4"/>
    <dgm:cxn modelId="{1A12C3C0-CC76-42D2-A4E4-D7F953973E01}" type="presParOf" srcId="{23356ACD-5822-48BD-BC5E-2C9068494AAF}" destId="{FFDA4AC1-CA54-42E6-A576-C2B11F8E408D}" srcOrd="3" destOrd="0" presId="urn:microsoft.com/office/officeart/2005/8/layout/cycle4"/>
    <dgm:cxn modelId="{F7A74389-F4F9-4062-AE59-8454B5B5598F}" type="presParOf" srcId="{FFDA4AC1-CA54-42E6-A576-C2B11F8E408D}" destId="{D166E8E2-7B4C-4E95-92F4-C2E410662777}" srcOrd="0" destOrd="0" presId="urn:microsoft.com/office/officeart/2005/8/layout/cycle4"/>
    <dgm:cxn modelId="{D8CA49AA-502B-495E-83EF-87F9FCDE512E}" type="presParOf" srcId="{FFDA4AC1-CA54-42E6-A576-C2B11F8E408D}" destId="{30C1A76E-9715-415B-8C90-FE554FE0D35B}" srcOrd="1" destOrd="0" presId="urn:microsoft.com/office/officeart/2005/8/layout/cycle4"/>
    <dgm:cxn modelId="{41931B12-894F-402B-8DC4-437BFE790EF2}" type="presParOf" srcId="{23356ACD-5822-48BD-BC5E-2C9068494AAF}" destId="{3ED11169-6FAF-4D42-92B1-3B0A2074BEF0}" srcOrd="4" destOrd="0" presId="urn:microsoft.com/office/officeart/2005/8/layout/cycle4"/>
    <dgm:cxn modelId="{71EBD217-C483-41C4-8142-D81C1384F07F}" type="presParOf" srcId="{2DA78128-21F3-4EDC-8042-2EC1D330134E}" destId="{6B610D0D-0294-4100-87BD-54C133A7F4B2}" srcOrd="1" destOrd="0" presId="urn:microsoft.com/office/officeart/2005/8/layout/cycle4"/>
    <dgm:cxn modelId="{4DEDF2ED-6AD8-441B-935E-6FFDCEAA1A7E}" type="presParOf" srcId="{6B610D0D-0294-4100-87BD-54C133A7F4B2}" destId="{D6F981C1-4E7B-4017-A926-98D98C241897}" srcOrd="0" destOrd="0" presId="urn:microsoft.com/office/officeart/2005/8/layout/cycle4"/>
    <dgm:cxn modelId="{742AC359-532B-454B-87A4-9FE2F89841E7}" type="presParOf" srcId="{6B610D0D-0294-4100-87BD-54C133A7F4B2}" destId="{493FEB91-AA31-45A6-88CF-9308082D46AF}" srcOrd="1" destOrd="0" presId="urn:microsoft.com/office/officeart/2005/8/layout/cycle4"/>
    <dgm:cxn modelId="{3D672BE4-9C90-45D6-AA60-F5AE166A95CF}" type="presParOf" srcId="{6B610D0D-0294-4100-87BD-54C133A7F4B2}" destId="{6CD3FD78-B3AB-45CF-AE75-93243CACF2EB}" srcOrd="2" destOrd="0" presId="urn:microsoft.com/office/officeart/2005/8/layout/cycle4"/>
    <dgm:cxn modelId="{A3A2C402-DAF4-4BCB-AE62-6EFE264257C1}" type="presParOf" srcId="{6B610D0D-0294-4100-87BD-54C133A7F4B2}" destId="{3778C723-495C-41FA-87B8-C5203E28E930}" srcOrd="3" destOrd="0" presId="urn:microsoft.com/office/officeart/2005/8/layout/cycle4"/>
    <dgm:cxn modelId="{485E322E-1153-4AC9-A385-31634ACB4A14}" type="presParOf" srcId="{6B610D0D-0294-4100-87BD-54C133A7F4B2}" destId="{615BAD35-CB01-4DFD-A752-120548D851A8}" srcOrd="4" destOrd="0" presId="urn:microsoft.com/office/officeart/2005/8/layout/cycle4"/>
    <dgm:cxn modelId="{07BFB0A2-41C8-4C4A-896B-7DD0518E2105}" type="presParOf" srcId="{2DA78128-21F3-4EDC-8042-2EC1D330134E}" destId="{1A0CE849-D2A0-47EF-A074-F9E490B73665}" srcOrd="2" destOrd="0" presId="urn:microsoft.com/office/officeart/2005/8/layout/cycle4"/>
    <dgm:cxn modelId="{F8895008-29C4-4364-9A1E-27B23768244A}" type="presParOf" srcId="{2DA78128-21F3-4EDC-8042-2EC1D330134E}" destId="{B8E8D1A6-C432-4460-B607-82E679E3177B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FCBDFD1-638F-48E8-8018-C9F87B112D20}">
      <dsp:nvSpPr>
        <dsp:cNvPr id="0" name=""/>
        <dsp:cNvSpPr/>
      </dsp:nvSpPr>
      <dsp:spPr>
        <a:xfrm>
          <a:off x="4999273" y="3391946"/>
          <a:ext cx="3125560" cy="165565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Provide embedded application as a service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Service discovery support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Deploy, start, stop , remove applications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Configurable </a:t>
          </a:r>
          <a:r>
            <a:rPr lang="en-US" sz="1200" kern="1200" dirty="0" smtClean="0"/>
            <a:t>monitoring </a:t>
          </a:r>
          <a:r>
            <a:rPr lang="en-US" sz="1200" kern="1200" dirty="0" smtClean="0"/>
            <a:t>of applications</a:t>
          </a:r>
          <a:endParaRPr lang="en-US" sz="1200" kern="1200" dirty="0"/>
        </a:p>
      </dsp:txBody>
      <dsp:txXfrm>
        <a:off x="5936941" y="3805860"/>
        <a:ext cx="2187892" cy="1241743"/>
      </dsp:txXfrm>
    </dsp:sp>
    <dsp:sp modelId="{D166E8E2-7B4C-4E95-92F4-C2E410662777}">
      <dsp:nvSpPr>
        <dsp:cNvPr id="0" name=""/>
        <dsp:cNvSpPr/>
      </dsp:nvSpPr>
      <dsp:spPr>
        <a:xfrm>
          <a:off x="523239" y="3518273"/>
          <a:ext cx="2555921" cy="165565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Out of the box test framework</a:t>
          </a:r>
          <a:endParaRPr lang="en-US" sz="1400" kern="1200" dirty="0"/>
        </a:p>
      </dsp:txBody>
      <dsp:txXfrm>
        <a:off x="523239" y="3932187"/>
        <a:ext cx="1789145" cy="1241743"/>
      </dsp:txXfrm>
    </dsp:sp>
    <dsp:sp modelId="{26E7334D-DC63-42F3-87BD-B2AF6B0634F8}">
      <dsp:nvSpPr>
        <dsp:cNvPr id="0" name=""/>
        <dsp:cNvSpPr/>
      </dsp:nvSpPr>
      <dsp:spPr>
        <a:xfrm>
          <a:off x="4439935" y="0"/>
          <a:ext cx="3684898" cy="165565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Enable plugging in variety of industry protocols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Advanced component lifecycle </a:t>
          </a:r>
          <a:r>
            <a:rPr lang="en-US" sz="1400" kern="1200" dirty="0" smtClean="0"/>
            <a:t>management ( e.g. heartbeats)</a:t>
          </a:r>
          <a:endParaRPr lang="en-US" sz="1400" kern="1200" dirty="0"/>
        </a:p>
      </dsp:txBody>
      <dsp:txXfrm>
        <a:off x="5545405" y="0"/>
        <a:ext cx="2579428" cy="1241743"/>
      </dsp:txXfrm>
    </dsp:sp>
    <dsp:sp modelId="{6885832B-6C6E-4489-B9A6-849EE0DA2573}">
      <dsp:nvSpPr>
        <dsp:cNvPr id="0" name=""/>
        <dsp:cNvSpPr/>
      </dsp:nvSpPr>
      <dsp:spPr>
        <a:xfrm>
          <a:off x="310995" y="0"/>
          <a:ext cx="2980409" cy="165565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Standard SOA based development </a:t>
          </a:r>
          <a:r>
            <a:rPr lang="en-US" sz="1400" kern="1200" dirty="0" smtClean="0"/>
            <a:t>model using SCA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Simplify </a:t>
          </a:r>
          <a:r>
            <a:rPr lang="en-US" sz="1400" kern="1200" dirty="0" smtClean="0"/>
            <a:t>reusability of services and resources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/>
        </a:p>
      </dsp:txBody>
      <dsp:txXfrm>
        <a:off x="310995" y="0"/>
        <a:ext cx="2086286" cy="1241743"/>
      </dsp:txXfrm>
    </dsp:sp>
    <dsp:sp modelId="{D6F981C1-4E7B-4017-A926-98D98C241897}">
      <dsp:nvSpPr>
        <dsp:cNvPr id="0" name=""/>
        <dsp:cNvSpPr/>
      </dsp:nvSpPr>
      <dsp:spPr>
        <a:xfrm>
          <a:off x="1770365" y="294914"/>
          <a:ext cx="2240312" cy="2240312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Enable development with SOA based architecture</a:t>
          </a:r>
        </a:p>
      </dsp:txBody>
      <dsp:txXfrm>
        <a:off x="1770365" y="294914"/>
        <a:ext cx="2240312" cy="2240312"/>
      </dsp:txXfrm>
    </dsp:sp>
    <dsp:sp modelId="{493FEB91-AA31-45A6-88CF-9308082D46AF}">
      <dsp:nvSpPr>
        <dsp:cNvPr id="0" name=""/>
        <dsp:cNvSpPr/>
      </dsp:nvSpPr>
      <dsp:spPr>
        <a:xfrm rot="5400000">
          <a:off x="4114156" y="294914"/>
          <a:ext cx="2240312" cy="2240312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Enable vertical integration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 rot="5400000">
        <a:off x="4114156" y="294914"/>
        <a:ext cx="2240312" cy="2240312"/>
      </dsp:txXfrm>
    </dsp:sp>
    <dsp:sp modelId="{6CD3FD78-B3AB-45CF-AE75-93243CACF2EB}">
      <dsp:nvSpPr>
        <dsp:cNvPr id="0" name=""/>
        <dsp:cNvSpPr/>
      </dsp:nvSpPr>
      <dsp:spPr>
        <a:xfrm rot="10800000">
          <a:off x="4114156" y="2638704"/>
          <a:ext cx="2240312" cy="2240312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implify application management</a:t>
          </a:r>
          <a:endParaRPr lang="en-US" sz="1400" kern="1200" dirty="0"/>
        </a:p>
      </dsp:txBody>
      <dsp:txXfrm rot="10800000">
        <a:off x="4114156" y="2638704"/>
        <a:ext cx="2240312" cy="2240312"/>
      </dsp:txXfrm>
    </dsp:sp>
    <dsp:sp modelId="{3778C723-495C-41FA-87B8-C5203E28E930}">
      <dsp:nvSpPr>
        <dsp:cNvPr id="0" name=""/>
        <dsp:cNvSpPr/>
      </dsp:nvSpPr>
      <dsp:spPr>
        <a:xfrm rot="16200000">
          <a:off x="1770365" y="2638704"/>
          <a:ext cx="2240312" cy="2240312"/>
        </a:xfrm>
        <a:prstGeom prst="pieWedge">
          <a:avLst/>
        </a:prstGeom>
        <a:solidFill>
          <a:schemeClr val="accent1">
            <a:hueOff val="0"/>
            <a:satOff val="0"/>
            <a:lum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implify integration testing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 rot="16200000">
        <a:off x="1770365" y="2638704"/>
        <a:ext cx="2240312" cy="2240312"/>
      </dsp:txXfrm>
    </dsp:sp>
    <dsp:sp modelId="{1A0CE849-D2A0-47EF-A074-F9E490B73665}">
      <dsp:nvSpPr>
        <dsp:cNvPr id="0" name=""/>
        <dsp:cNvSpPr/>
      </dsp:nvSpPr>
      <dsp:spPr>
        <a:xfrm>
          <a:off x="3675665" y="2121311"/>
          <a:ext cx="773502" cy="672611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E8D1A6-C432-4460-B607-82E679E3177B}">
      <dsp:nvSpPr>
        <dsp:cNvPr id="0" name=""/>
        <dsp:cNvSpPr/>
      </dsp:nvSpPr>
      <dsp:spPr>
        <a:xfrm rot="10800000">
          <a:off x="3675665" y="2380008"/>
          <a:ext cx="773502" cy="672611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F016EA0-3CBE-41E4-B0FC-699E9BBECA94}">
      <dsp:nvSpPr>
        <dsp:cNvPr id="0" name=""/>
        <dsp:cNvSpPr/>
      </dsp:nvSpPr>
      <dsp:spPr>
        <a:xfrm>
          <a:off x="140652" y="179504"/>
          <a:ext cx="3610885" cy="1375476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6FE7348-8DF3-47E7-A4A1-D7A6E5E39CA6}">
      <dsp:nvSpPr>
        <dsp:cNvPr id="0" name=""/>
        <dsp:cNvSpPr/>
      </dsp:nvSpPr>
      <dsp:spPr>
        <a:xfrm>
          <a:off x="157882" y="1511029"/>
          <a:ext cx="45720" cy="4572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E5E199E-B4F6-4BF1-B893-8E1A3ABF6BB2}">
      <dsp:nvSpPr>
        <dsp:cNvPr id="0" name=""/>
        <dsp:cNvSpPr/>
      </dsp:nvSpPr>
      <dsp:spPr>
        <a:xfrm>
          <a:off x="-158965" y="1203959"/>
          <a:ext cx="2451620" cy="813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47" tIns="0" rIns="0" bIns="0" numCol="1" spcCol="1270" anchor="t" anchorCtr="0">
          <a:noAutofit/>
        </a:bodyPr>
        <a:lstStyle/>
        <a:p>
          <a:pPr lvl="0" algn="l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" b="1" kern="1200" dirty="0" smtClean="0">
              <a:latin typeface="Calibri" pitchFamily="34" charset="0"/>
              <a:cs typeface="Calibri" pitchFamily="34" charset="0"/>
            </a:rPr>
            <a:t/>
          </a:r>
          <a:br>
            <a:rPr lang="en-US" sz="300" b="1" kern="1200" dirty="0" smtClean="0">
              <a:latin typeface="Calibri" pitchFamily="34" charset="0"/>
              <a:cs typeface="Calibri" pitchFamily="34" charset="0"/>
            </a:rPr>
          </a:br>
          <a:r>
            <a:rPr lang="en-US" sz="300" b="1" kern="1200" dirty="0" smtClean="0">
              <a:latin typeface="Calibri" pitchFamily="34" charset="0"/>
              <a:cs typeface="Calibri" pitchFamily="34" charset="0"/>
            </a:rPr>
            <a:t/>
          </a:r>
          <a:br>
            <a:rPr lang="en-US" sz="300" b="1" kern="1200" dirty="0" smtClean="0">
              <a:latin typeface="Calibri" pitchFamily="34" charset="0"/>
              <a:cs typeface="Calibri" pitchFamily="34" charset="0"/>
            </a:rPr>
          </a:br>
          <a:endParaRPr lang="en-US" sz="900" b="1" kern="1200" dirty="0">
            <a:latin typeface="Calibri" pitchFamily="34" charset="0"/>
            <a:cs typeface="Calibri" pitchFamily="34" charset="0"/>
          </a:endParaRPr>
        </a:p>
      </dsp:txBody>
      <dsp:txXfrm>
        <a:off x="-158965" y="1203959"/>
        <a:ext cx="2451620" cy="813026"/>
      </dsp:txXfrm>
    </dsp:sp>
    <dsp:sp modelId="{DC6761B3-C1BA-4866-8407-4B9E70DF7A81}">
      <dsp:nvSpPr>
        <dsp:cNvPr id="0" name=""/>
        <dsp:cNvSpPr/>
      </dsp:nvSpPr>
      <dsp:spPr>
        <a:xfrm>
          <a:off x="1354453" y="756576"/>
          <a:ext cx="169711" cy="16971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412C352-C6D6-47ED-BCA3-FDEEE9D278FC}">
      <dsp:nvSpPr>
        <dsp:cNvPr id="0" name=""/>
        <dsp:cNvSpPr/>
      </dsp:nvSpPr>
      <dsp:spPr>
        <a:xfrm>
          <a:off x="713213" y="1158982"/>
          <a:ext cx="1697875" cy="6028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927" tIns="0" rIns="0" bIns="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300"/>
            </a:spcAft>
          </a:pPr>
          <a:r>
            <a:rPr lang="en-US" sz="1400" b="1" kern="1200" dirty="0" smtClean="0">
              <a:latin typeface="Calibri" pitchFamily="34" charset="0"/>
              <a:cs typeface="Calibri" pitchFamily="34" charset="0"/>
            </a:rPr>
            <a:t>2012/13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0" kern="1200" dirty="0" smtClean="0">
              <a:latin typeface="Calibri" pitchFamily="34" charset="0"/>
              <a:cs typeface="Calibri" pitchFamily="34" charset="0"/>
            </a:rPr>
            <a:t>provide new customer-driven features</a:t>
          </a:r>
        </a:p>
      </dsp:txBody>
      <dsp:txXfrm>
        <a:off x="713213" y="1158982"/>
        <a:ext cx="1697875" cy="602862"/>
      </dsp:txXfrm>
    </dsp:sp>
    <dsp:sp modelId="{C51D8813-6D6C-40DB-B931-7E5F3E4EA031}">
      <dsp:nvSpPr>
        <dsp:cNvPr id="0" name=""/>
        <dsp:cNvSpPr/>
      </dsp:nvSpPr>
      <dsp:spPr>
        <a:xfrm>
          <a:off x="2689641" y="468966"/>
          <a:ext cx="234707" cy="23470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F1AC271-D43A-4C14-B1F8-0B3F1115884E}">
      <dsp:nvSpPr>
        <dsp:cNvPr id="0" name=""/>
        <dsp:cNvSpPr/>
      </dsp:nvSpPr>
      <dsp:spPr>
        <a:xfrm>
          <a:off x="2072477" y="845215"/>
          <a:ext cx="1589306" cy="11876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367" tIns="0" rIns="0" bIns="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300"/>
            </a:spcAft>
          </a:pPr>
          <a:r>
            <a:rPr lang="en-US" sz="1400" b="1" kern="1200" dirty="0" smtClean="0">
              <a:latin typeface="Calibri" pitchFamily="34" charset="0"/>
              <a:cs typeface="Calibri" pitchFamily="34" charset="0"/>
            </a:rPr>
            <a:t>2013/14</a:t>
          </a:r>
          <a:r>
            <a:rPr lang="en-US" sz="2000" b="1" kern="1200" dirty="0" smtClean="0">
              <a:latin typeface="Calibri" pitchFamily="34" charset="0"/>
              <a:cs typeface="Calibri" pitchFamily="34" charset="0"/>
            </a:rPr>
            <a:t/>
          </a:r>
          <a:br>
            <a:rPr lang="en-US" sz="2000" b="1" kern="1200" dirty="0" smtClean="0">
              <a:latin typeface="Calibri" pitchFamily="34" charset="0"/>
              <a:cs typeface="Calibri" pitchFamily="34" charset="0"/>
            </a:rPr>
          </a:br>
          <a:r>
            <a:rPr lang="en-US" sz="1050" b="0" kern="1200" dirty="0" smtClean="0">
              <a:latin typeface="+mj-lt"/>
              <a:cs typeface="Calibri" pitchFamily="34" charset="0"/>
            </a:rPr>
            <a:t>service platform for</a:t>
          </a:r>
          <a:br>
            <a:rPr lang="en-US" sz="1050" b="0" kern="1200" dirty="0" smtClean="0">
              <a:latin typeface="+mj-lt"/>
              <a:cs typeface="Calibri" pitchFamily="34" charset="0"/>
            </a:rPr>
          </a:br>
          <a:r>
            <a:rPr lang="en-US" sz="1050" b="0" kern="1200" dirty="0" smtClean="0">
              <a:latin typeface="+mj-lt"/>
              <a:cs typeface="Calibri" pitchFamily="34" charset="0"/>
            </a:rPr>
            <a:t>  strategic customers</a:t>
          </a:r>
          <a:endParaRPr lang="en-US" sz="2000" b="0" kern="1200" dirty="0">
            <a:latin typeface="+mj-lt"/>
            <a:cs typeface="Calibri" pitchFamily="34" charset="0"/>
          </a:endParaRPr>
        </a:p>
      </dsp:txBody>
      <dsp:txXfrm>
        <a:off x="2072477" y="845215"/>
        <a:ext cx="1589306" cy="1187698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FCBDFD1-638F-48E8-8018-C9F87B112D20}">
      <dsp:nvSpPr>
        <dsp:cNvPr id="0" name=""/>
        <dsp:cNvSpPr/>
      </dsp:nvSpPr>
      <dsp:spPr>
        <a:xfrm>
          <a:off x="4862368" y="3162888"/>
          <a:ext cx="2914491" cy="15438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err="1" smtClean="0"/>
            <a:t>Trentino</a:t>
          </a:r>
          <a:r>
            <a:rPr lang="en-US" sz="1200" kern="1200" dirty="0" smtClean="0"/>
            <a:t> Communication Engine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Apache Thrift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IPC with shared Memory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err="1" smtClean="0"/>
            <a:t>Bacnet</a:t>
          </a:r>
          <a:r>
            <a:rPr lang="en-US" sz="1200" kern="1200" dirty="0" smtClean="0"/>
            <a:t>, KNX , …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kern="1200" dirty="0"/>
        </a:p>
      </dsp:txBody>
      <dsp:txXfrm>
        <a:off x="5736716" y="3548851"/>
        <a:ext cx="2040144" cy="1157888"/>
      </dsp:txXfrm>
    </dsp:sp>
    <dsp:sp modelId="{D166E8E2-7B4C-4E95-92F4-C2E410662777}">
      <dsp:nvSpPr>
        <dsp:cNvPr id="0" name=""/>
        <dsp:cNvSpPr/>
      </dsp:nvSpPr>
      <dsp:spPr>
        <a:xfrm>
          <a:off x="588254" y="3280684"/>
          <a:ext cx="2383320" cy="15438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Distributed service discovery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Lazy and eager discovery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Preferences /Logging 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Authentication / Authorization</a:t>
          </a:r>
          <a:endParaRPr lang="en-US" sz="1100" kern="1200" dirty="0"/>
        </a:p>
      </dsp:txBody>
      <dsp:txXfrm>
        <a:off x="588254" y="3666647"/>
        <a:ext cx="1668324" cy="1157888"/>
      </dsp:txXfrm>
    </dsp:sp>
    <dsp:sp modelId="{26E7334D-DC63-42F3-87BD-B2AF6B0634F8}">
      <dsp:nvSpPr>
        <dsp:cNvPr id="0" name=""/>
        <dsp:cNvSpPr/>
      </dsp:nvSpPr>
      <dsp:spPr>
        <a:xfrm>
          <a:off x="4340806" y="0"/>
          <a:ext cx="3436057" cy="15438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Component Dependency Injection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Callback method (On Init, On destroy, Heartbeat)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Configurable Component scope (Stateless, composite)</a:t>
          </a:r>
          <a:endParaRPr lang="en-US" sz="1200" kern="1200" dirty="0"/>
        </a:p>
      </dsp:txBody>
      <dsp:txXfrm>
        <a:off x="5371623" y="0"/>
        <a:ext cx="2405240" cy="1157888"/>
      </dsp:txXfrm>
    </dsp:sp>
    <dsp:sp modelId="{6885832B-6C6E-4489-B9A6-849EE0DA2573}">
      <dsp:nvSpPr>
        <dsp:cNvPr id="0" name=""/>
        <dsp:cNvSpPr/>
      </dsp:nvSpPr>
      <dsp:spPr>
        <a:xfrm>
          <a:off x="390343" y="0"/>
          <a:ext cx="2779142" cy="15438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Package : </a:t>
          </a:r>
          <a:r>
            <a:rPr lang="en-US" sz="1400" kern="1200" dirty="0" err="1" smtClean="0"/>
            <a:t>dll</a:t>
          </a:r>
          <a:r>
            <a:rPr lang="en-US" sz="1400" kern="1200" dirty="0" smtClean="0"/>
            <a:t>, resource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Install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Start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Stop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Update / upgrade</a:t>
          </a:r>
          <a:endParaRPr lang="en-US" sz="1400" kern="1200" dirty="0"/>
        </a:p>
      </dsp:txBody>
      <dsp:txXfrm>
        <a:off x="390343" y="0"/>
        <a:ext cx="1945399" cy="1157888"/>
      </dsp:txXfrm>
    </dsp:sp>
    <dsp:sp modelId="{D6F981C1-4E7B-4017-A926-98D98C241897}">
      <dsp:nvSpPr>
        <dsp:cNvPr id="0" name=""/>
        <dsp:cNvSpPr/>
      </dsp:nvSpPr>
      <dsp:spPr>
        <a:xfrm>
          <a:off x="1751162" y="274998"/>
          <a:ext cx="2089024" cy="2089024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ntribution management</a:t>
          </a:r>
        </a:p>
      </dsp:txBody>
      <dsp:txXfrm>
        <a:off x="1751162" y="274998"/>
        <a:ext cx="2089024" cy="2089024"/>
      </dsp:txXfrm>
    </dsp:sp>
    <dsp:sp modelId="{493FEB91-AA31-45A6-88CF-9308082D46AF}">
      <dsp:nvSpPr>
        <dsp:cNvPr id="0" name=""/>
        <dsp:cNvSpPr/>
      </dsp:nvSpPr>
      <dsp:spPr>
        <a:xfrm rot="5400000">
          <a:off x="3936677" y="274998"/>
          <a:ext cx="2089024" cy="2089024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Lifecycle Management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 rot="5400000">
        <a:off x="3936677" y="274998"/>
        <a:ext cx="2089024" cy="2089024"/>
      </dsp:txXfrm>
    </dsp:sp>
    <dsp:sp modelId="{6CD3FD78-B3AB-45CF-AE75-93243CACF2EB}">
      <dsp:nvSpPr>
        <dsp:cNvPr id="0" name=""/>
        <dsp:cNvSpPr/>
      </dsp:nvSpPr>
      <dsp:spPr>
        <a:xfrm rot="10800000">
          <a:off x="3936677" y="2460513"/>
          <a:ext cx="2089024" cy="2089024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luggable Communication Infrastructure</a:t>
          </a:r>
          <a:endParaRPr lang="en-US" sz="1400" kern="1200" dirty="0"/>
        </a:p>
      </dsp:txBody>
      <dsp:txXfrm rot="10800000">
        <a:off x="3936677" y="2460513"/>
        <a:ext cx="2089024" cy="2089024"/>
      </dsp:txXfrm>
    </dsp:sp>
    <dsp:sp modelId="{3778C723-495C-41FA-87B8-C5203E28E930}">
      <dsp:nvSpPr>
        <dsp:cNvPr id="0" name=""/>
        <dsp:cNvSpPr/>
      </dsp:nvSpPr>
      <dsp:spPr>
        <a:xfrm rot="16200000">
          <a:off x="1751162" y="2460513"/>
          <a:ext cx="2089024" cy="2089024"/>
        </a:xfrm>
        <a:prstGeom prst="pieWedge">
          <a:avLst/>
        </a:prstGeom>
        <a:solidFill>
          <a:schemeClr val="accent1">
            <a:hueOff val="0"/>
            <a:satOff val="0"/>
            <a:lum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ervice Discovery &amp; Common services</a:t>
          </a:r>
        </a:p>
      </dsp:txBody>
      <dsp:txXfrm rot="16200000">
        <a:off x="1751162" y="2460513"/>
        <a:ext cx="2089024" cy="2089024"/>
      </dsp:txXfrm>
    </dsp:sp>
    <dsp:sp modelId="{1A0CE849-D2A0-47EF-A074-F9E490B73665}">
      <dsp:nvSpPr>
        <dsp:cNvPr id="0" name=""/>
        <dsp:cNvSpPr/>
      </dsp:nvSpPr>
      <dsp:spPr>
        <a:xfrm>
          <a:off x="3527797" y="1978059"/>
          <a:ext cx="721268" cy="627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E8D1A6-C432-4460-B607-82E679E3177B}">
      <dsp:nvSpPr>
        <dsp:cNvPr id="0" name=""/>
        <dsp:cNvSpPr/>
      </dsp:nvSpPr>
      <dsp:spPr>
        <a:xfrm rot="10800000">
          <a:off x="3527797" y="2219286"/>
          <a:ext cx="721268" cy="627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6858000" cy="684213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/>
              <a:t>Handout </a:t>
            </a:r>
            <a:fld id="{DD2939DC-3CD9-4A2E-98A6-53A4C1A9378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77433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4213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0" y="4572000"/>
            <a:ext cx="6337300" cy="374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/>
              <a:t>Memo </a:t>
            </a:r>
            <a:fld id="{1C4C1A90-3B38-4236-956E-B6B30384166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803593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1.wmf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/>
          <p:cNvSpPr>
            <a:spLocks noChangeArrowheads="1"/>
          </p:cNvSpPr>
          <p:nvPr userDrawn="1"/>
        </p:nvSpPr>
        <p:spPr bwMode="auto">
          <a:xfrm>
            <a:off x="0" y="0"/>
            <a:ext cx="9144000" cy="4142287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>
              <a:solidFill>
                <a:srgbClr val="879BAA"/>
              </a:solidFill>
            </a:endParaRP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233746">
              <a:alpha val="65098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16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42287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4000" b="1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noProof="0" smtClean="0"/>
              <a:t>Click to add presentation title</a:t>
            </a:r>
            <a:br>
              <a:rPr lang="en-US" noProof="0" smtClean="0"/>
            </a:br>
            <a:endParaRPr lang="en-US" noProof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10" name="Rectangle 16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16463" y="6588225"/>
            <a:ext cx="40322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lnSpc>
                <a:spcPct val="100000"/>
              </a:lnSpc>
              <a:defRPr/>
            </a:pPr>
            <a:r>
              <a:rPr lang="en-US" sz="1000" b="1" noProof="0" smtClean="0">
                <a:solidFill>
                  <a:schemeClr val="accent1"/>
                </a:solidFill>
              </a:rPr>
              <a:t>Restricted </a:t>
            </a:r>
            <a:r>
              <a:rPr lang="en-US" sz="1000" b="1" noProof="0">
                <a:solidFill>
                  <a:schemeClr val="accent1"/>
                </a:solidFill>
              </a:rPr>
              <a:t>© Siemens AG </a:t>
            </a:r>
            <a:r>
              <a:rPr lang="en-US" sz="1000" b="1" noProof="0" smtClean="0">
                <a:solidFill>
                  <a:schemeClr val="accent1"/>
                </a:solidFill>
              </a:rPr>
              <a:t>2013. </a:t>
            </a:r>
            <a:r>
              <a:rPr lang="en-US" sz="1000" b="1" noProof="0">
                <a:solidFill>
                  <a:schemeClr val="accent1"/>
                </a:solidFill>
              </a:rPr>
              <a:t>All rights </a:t>
            </a:r>
            <a:r>
              <a:rPr lang="en-US" sz="1000" b="1" noProof="0" smtClean="0">
                <a:solidFill>
                  <a:schemeClr val="accent1"/>
                </a:solidFill>
              </a:rPr>
              <a:t>reserved</a:t>
            </a:r>
            <a:endParaRPr lang="en-US" sz="1000" b="1" noProof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1_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417832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60" name="think-cell Slide" r:id="rId8" imgW="360" imgH="360" progId="">
              <p:embed/>
            </p:oleObj>
          </a:graphicData>
        </a:graphic>
      </p:graphicFrame>
      <p:sp>
        <p:nvSpPr>
          <p:cNvPr id="57350" name="Rectangle 115"/>
          <p:cNvSpPr>
            <a:spLocks noGrp="1" noChangeArrowheads="1"/>
          </p:cNvSpPr>
          <p:nvPr>
            <p:ph type="ctrTitle" hasCustomPrompt="1"/>
            <p:custDataLst>
              <p:tags r:id="rId2"/>
            </p:custDataLst>
          </p:nvPr>
        </p:nvSpPr>
        <p:spPr bwMode="gray">
          <a:xfrm>
            <a:off x="250825" y="4143600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add presentation title</a:t>
            </a:r>
            <a:br>
              <a:rPr lang="en-US" noProof="0" smtClean="0"/>
            </a:br>
            <a:endParaRPr lang="en-US" noProof="0" smtClean="0"/>
          </a:p>
        </p:txBody>
      </p:sp>
      <p:pic>
        <p:nvPicPr>
          <p:cNvPr id="9" name="Picture 2" descr="H:\CT KeyVisual_globe\CT earth small size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9" cstate="print"/>
          <a:srcRect l="126" b="39630"/>
          <a:stretch/>
        </p:blipFill>
        <p:spPr bwMode="auto">
          <a:xfrm>
            <a:off x="0" y="-4"/>
            <a:ext cx="9144000" cy="4145433"/>
          </a:xfrm>
          <a:prstGeom prst="rect">
            <a:avLst/>
          </a:prstGeom>
          <a:noFill/>
        </p:spPr>
      </p:pic>
      <p:pic>
        <p:nvPicPr>
          <p:cNvPr id="11" name="Grafik 10" descr="SIE_Logo_Layer_Petrol_RGB_A3_76mm.wmf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233746">
              <a:alpha val="65098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16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13" name="Rectangle 168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716463" y="6588225"/>
            <a:ext cx="40322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lnSpc>
                <a:spcPct val="100000"/>
              </a:lnSpc>
              <a:defRPr/>
            </a:pPr>
            <a:r>
              <a:rPr lang="en-US" sz="1000" b="1" noProof="0" smtClean="0">
                <a:solidFill>
                  <a:schemeClr val="accent1"/>
                </a:solidFill>
              </a:rPr>
              <a:t>Restricted </a:t>
            </a:r>
            <a:r>
              <a:rPr lang="en-US" sz="1000" b="1" noProof="0">
                <a:solidFill>
                  <a:schemeClr val="accent1"/>
                </a:solidFill>
              </a:rPr>
              <a:t>© Siemens AG </a:t>
            </a:r>
            <a:r>
              <a:rPr lang="en-US" sz="1000" b="1" noProof="0" smtClean="0">
                <a:solidFill>
                  <a:schemeClr val="accent1"/>
                </a:solidFill>
              </a:rPr>
              <a:t>2013. </a:t>
            </a:r>
            <a:r>
              <a:rPr lang="en-US" sz="1000" b="1" noProof="0">
                <a:solidFill>
                  <a:schemeClr val="accent1"/>
                </a:solidFill>
              </a:rPr>
              <a:t>All rights </a:t>
            </a:r>
            <a:r>
              <a:rPr lang="en-US" sz="1000" b="1" noProof="0" smtClean="0">
                <a:solidFill>
                  <a:schemeClr val="accent1"/>
                </a:solidFill>
              </a:rPr>
              <a:t>reserved</a:t>
            </a:r>
            <a:endParaRPr lang="en-US" sz="1000" b="1" noProof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835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539750" y="330200"/>
            <a:ext cx="6396038" cy="7429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539750" y="1392238"/>
            <a:ext cx="4027488" cy="3016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719638" y="1392238"/>
            <a:ext cx="4029075" cy="3016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539750" y="1574800"/>
            <a:ext cx="4027488" cy="301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19638" y="1574800"/>
            <a:ext cx="4029075" cy="301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6203DAE-4057-473B-B293-52B6AC226C0D}" type="datetimeFigureOut">
              <a:rPr lang="en-US" smtClean="0"/>
              <a:pPr/>
              <a:t>9/16/201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E726ED4-BE0E-4339-B127-6C67E307A750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noProof="0"/>
          </a:p>
        </p:txBody>
      </p:sp>
      <p:sp>
        <p:nvSpPr>
          <p:cNvPr id="43011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add core message of slide</a:t>
            </a:r>
          </a:p>
        </p:txBody>
      </p:sp>
      <p:pic>
        <p:nvPicPr>
          <p:cNvPr id="43013" name="Picture 15" descr="SIE_Logo_Layer_Petrol_RGB_A3_76mm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716463" y="6588225"/>
            <a:ext cx="40322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lnSpc>
                <a:spcPct val="100000"/>
              </a:lnSpc>
              <a:defRPr/>
            </a:pPr>
            <a:r>
              <a:rPr lang="en-US" sz="1000" b="1" noProof="0" smtClean="0">
                <a:solidFill>
                  <a:schemeClr val="accent1"/>
                </a:solidFill>
              </a:rPr>
              <a:t>Restricted </a:t>
            </a:r>
            <a:r>
              <a:rPr lang="en-US" sz="1000" b="1" noProof="0">
                <a:solidFill>
                  <a:schemeClr val="accent1"/>
                </a:solidFill>
              </a:rPr>
              <a:t>© Siemens AG </a:t>
            </a:r>
            <a:r>
              <a:rPr lang="en-US" sz="1000" b="1" noProof="0" smtClean="0">
                <a:solidFill>
                  <a:schemeClr val="accent1"/>
                </a:solidFill>
              </a:rPr>
              <a:t>2013. </a:t>
            </a:r>
            <a:r>
              <a:rPr lang="en-US" sz="1000" b="1" noProof="0">
                <a:solidFill>
                  <a:schemeClr val="accent1"/>
                </a:solidFill>
              </a:rPr>
              <a:t>All rights </a:t>
            </a:r>
            <a:r>
              <a:rPr lang="en-US" sz="1000" b="1" noProof="0" smtClean="0">
                <a:solidFill>
                  <a:schemeClr val="accent1"/>
                </a:solidFill>
              </a:rPr>
              <a:t>reserved</a:t>
            </a:r>
            <a:endParaRPr lang="en-US" sz="1000" b="1" noProof="0">
              <a:solidFill>
                <a:schemeClr val="accent1"/>
              </a:solidFill>
            </a:endParaRPr>
          </a:p>
        </p:txBody>
      </p:sp>
      <p:sp>
        <p:nvSpPr>
          <p:cNvPr id="15" name="Foliennummernplatzhalter 5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39750" y="6588225"/>
            <a:ext cx="58990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cs typeface="Arial" charset="0"/>
              </a:rPr>
              <a:pPr algn="l">
                <a:lnSpc>
                  <a:spcPct val="100000"/>
                </a:lnSpc>
                <a:defRPr/>
              </a:pPr>
              <a:t>‹Nr.›</a:t>
            </a:fld>
            <a:endParaRPr lang="en-US" sz="1000" noProof="0">
              <a:cs typeface="Arial" charset="0"/>
            </a:endParaRPr>
          </a:p>
        </p:txBody>
      </p:sp>
      <p:sp>
        <p:nvSpPr>
          <p:cNvPr id="16" name="Rectangle 16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2013-09-09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2" name="Rectangle 167"/>
          <p:cNvSpPr>
            <a:spLocks noChangeArrowheads="1"/>
          </p:cNvSpPr>
          <p:nvPr/>
        </p:nvSpPr>
        <p:spPr bwMode="auto">
          <a:xfrm>
            <a:off x="2555875" y="6588225"/>
            <a:ext cx="21605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Emeric Kwemou,</a:t>
            </a:r>
            <a:r>
              <a:rPr lang="en-US" sz="1000" baseline="0" noProof="0" dirty="0" smtClean="0">
                <a:cs typeface="Arial" charset="0"/>
              </a:rPr>
              <a:t> </a:t>
            </a:r>
            <a:r>
              <a:rPr lang="en-US" sz="1000" noProof="0" dirty="0" smtClean="0">
                <a:cs typeface="Arial" charset="0"/>
              </a:rPr>
              <a:t>CT</a:t>
            </a:r>
            <a:r>
              <a:rPr lang="en-US" sz="1000" baseline="0" noProof="0" dirty="0" smtClean="0">
                <a:cs typeface="Arial" charset="0"/>
              </a:rPr>
              <a:t> RTC ITP SYI-DE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1338" y="1414800"/>
            <a:ext cx="8207375" cy="25545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de-DE" dirty="0" smtClean="0"/>
              <a:t>1. Ebene</a:t>
            </a:r>
          </a:p>
          <a:p>
            <a:pPr lvl="1"/>
            <a:r>
              <a:rPr lang="de-DE" dirty="0" smtClean="0"/>
              <a:t>2. Ebene</a:t>
            </a:r>
          </a:p>
          <a:p>
            <a:pPr lvl="2"/>
            <a:r>
              <a:rPr lang="de-DE" dirty="0" smtClean="0"/>
              <a:t>3. Ebene</a:t>
            </a:r>
          </a:p>
          <a:p>
            <a:pPr lvl="3"/>
            <a:r>
              <a:rPr lang="de-DE" dirty="0" smtClean="0"/>
              <a:t>4. Ebene</a:t>
            </a:r>
          </a:p>
          <a:p>
            <a:pPr lvl="4"/>
            <a:r>
              <a:rPr lang="de-DE" dirty="0" smtClean="0"/>
              <a:t>5. Ebene</a:t>
            </a:r>
          </a:p>
          <a:p>
            <a:pPr lvl="5"/>
            <a:r>
              <a:rPr lang="de-DE" dirty="0" smtClean="0"/>
              <a:t>6. Ebene</a:t>
            </a:r>
          </a:p>
          <a:p>
            <a:pPr lvl="6"/>
            <a:r>
              <a:rPr lang="de-DE" dirty="0" smtClean="0"/>
              <a:t>7. Ebene</a:t>
            </a:r>
          </a:p>
          <a:p>
            <a:pPr lvl="7"/>
            <a:r>
              <a:rPr lang="de-DE" dirty="0" smtClean="0"/>
              <a:t>8. Ebene</a:t>
            </a:r>
          </a:p>
          <a:p>
            <a:pPr lvl="8"/>
            <a:r>
              <a:rPr lang="de-DE" dirty="0" smtClean="0"/>
              <a:t>9.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5" r:id="rId3"/>
    <p:sldLayoutId id="2147483687" r:id="rId4"/>
    <p:sldLayoutId id="2147483688" r:id="rId5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marL="0" marR="0" indent="0" algn="l" defTabSz="914400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Tx/>
        <a:buSzTx/>
        <a:buFont typeface="Wingdings" pitchFamily="2" charset="2"/>
        <a:buNone/>
        <a:tabLst/>
        <a:defRPr lang="en-US" sz="14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6400" indent="-1764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2pPr>
      <a:lvl3pPr marL="3564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53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71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8892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106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124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14220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diagramQuickStyle" Target="../diagrams/quickStyle2.xml"/><Relationship Id="rId3" Type="http://schemas.openxmlformats.org/officeDocument/2006/relationships/tags" Target="../tags/tag17.xml"/><Relationship Id="rId21" Type="http://schemas.openxmlformats.org/officeDocument/2006/relationships/image" Target="../media/image6.png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diagramLayout" Target="../diagrams/layout2.xml"/><Relationship Id="rId2" Type="http://schemas.openxmlformats.org/officeDocument/2006/relationships/tags" Target="../tags/tag16.xml"/><Relationship Id="rId16" Type="http://schemas.openxmlformats.org/officeDocument/2006/relationships/diagramData" Target="../diagrams/data2.xml"/><Relationship Id="rId20" Type="http://schemas.microsoft.com/office/2007/relationships/diagramDrawing" Target="../diagrams/drawing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oleObject" Target="../embeddings/oleObject4.bin"/><Relationship Id="rId23" Type="http://schemas.openxmlformats.org/officeDocument/2006/relationships/image" Target="../media/image7.png"/><Relationship Id="rId10" Type="http://schemas.openxmlformats.org/officeDocument/2006/relationships/tags" Target="../tags/tag24.xml"/><Relationship Id="rId19" Type="http://schemas.openxmlformats.org/officeDocument/2006/relationships/diagramColors" Target="../diagrams/colors2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slideLayout" Target="../slideLayouts/slideLayout3.xml"/><Relationship Id="rId22" Type="http://schemas.openxmlformats.org/officeDocument/2006/relationships/hyperlink" Target="http://trentino.sourceforge.net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Untertitel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Emeric Kwemou (CT RTC ITP SYI-DE)</a:t>
            </a:r>
            <a:endParaRPr lang="en-US" dirty="0"/>
          </a:p>
        </p:txBody>
      </p:sp>
      <p:sp>
        <p:nvSpPr>
          <p:cNvPr id="4102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/>
        <p:txBody>
          <a:bodyPr/>
          <a:lstStyle/>
          <a:p>
            <a:pPr>
              <a:tabLst>
                <a:tab pos="2238375" algn="l"/>
              </a:tabLst>
            </a:pPr>
            <a:r>
              <a:rPr lang="en-US" sz="1800" dirty="0" err="1" smtClean="0"/>
              <a:t>Trentino</a:t>
            </a:r>
            <a:r>
              <a:rPr lang="en-US" sz="1800" dirty="0" smtClean="0"/>
              <a:t>: platform for SOA based distributed embedded systems</a:t>
            </a:r>
            <a:endParaRPr lang="en-US" sz="1600" b="0" i="1" dirty="0" smtClean="0">
              <a:solidFill>
                <a:srgbClr val="0000FF"/>
              </a:solidFill>
            </a:endParaRPr>
          </a:p>
        </p:txBody>
      </p:sp>
      <p:graphicFrame>
        <p:nvGraphicFramePr>
          <p:cNvPr id="4098" name="Object 37" hidden="1"/>
          <p:cNvGraphicFramePr>
            <a:graphicFrameLocks noChangeAspect="1"/>
          </p:cNvGraphicFramePr>
          <p:nvPr>
            <p:ph sz="quarter" idx="4294967295"/>
          </p:nvPr>
        </p:nvGraphicFramePr>
        <p:xfrm>
          <a:off x="0" y="1401763"/>
          <a:ext cx="9525" cy="9525"/>
        </p:xfrm>
        <a:graphic>
          <a:graphicData uri="http://schemas.openxmlformats.org/presentationml/2006/ole">
            <p:oleObj spid="_x0000_s453634" name="think-cell Slide" r:id="rId6" imgW="360" imgH="360" progId="">
              <p:embed/>
            </p:oleObj>
          </a:graphicData>
        </a:graphic>
      </p:graphicFrame>
      <p:sp>
        <p:nvSpPr>
          <p:cNvPr id="4101" name="Rectangle 2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endParaRPr lang="de-DE" sz="1000"/>
          </a:p>
        </p:txBody>
      </p:sp>
      <p:pic>
        <p:nvPicPr>
          <p:cNvPr id="44" name="Grafik 43" descr="Trentino_black_920x250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258715" y="1320801"/>
            <a:ext cx="8879892" cy="241301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rentino</a:t>
            </a:r>
            <a:r>
              <a:rPr lang="en-US" dirty="0" smtClean="0"/>
              <a:t>: platform for SOA based distributed embedded systems</a:t>
            </a:r>
            <a:endParaRPr lang="en-US" dirty="0"/>
          </a:p>
        </p:txBody>
      </p:sp>
      <p:grpSp>
        <p:nvGrpSpPr>
          <p:cNvPr id="3" name="Gruppieren 12"/>
          <p:cNvGrpSpPr/>
          <p:nvPr/>
        </p:nvGrpSpPr>
        <p:grpSpPr>
          <a:xfrm>
            <a:off x="660435" y="1395679"/>
            <a:ext cx="8124834" cy="5173931"/>
            <a:chOff x="899591" y="1412775"/>
            <a:chExt cx="8124834" cy="5173931"/>
          </a:xfrm>
        </p:grpSpPr>
        <p:graphicFrame>
          <p:nvGraphicFramePr>
            <p:cNvPr id="12" name="Diagramm 11"/>
            <p:cNvGraphicFramePr/>
            <p:nvPr/>
          </p:nvGraphicFramePr>
          <p:xfrm>
            <a:off x="899591" y="1412775"/>
            <a:ext cx="8124834" cy="517393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0" name="Flussdiagramm: Verbindungsstelle 9"/>
            <p:cNvSpPr/>
            <p:nvPr/>
          </p:nvSpPr>
          <p:spPr>
            <a:xfrm>
              <a:off x="4232459" y="3457491"/>
              <a:ext cx="1296144" cy="1224136"/>
            </a:xfrm>
            <a:prstGeom prst="flowChartConnector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 smtClean="0"/>
                <a:t>Trentino</a:t>
              </a:r>
              <a:r>
                <a:rPr lang="en-US" sz="1400" dirty="0" smtClean="0"/>
                <a:t> platform goals</a:t>
              </a:r>
              <a:endParaRPr lang="en-US" sz="1400" dirty="0"/>
            </a:p>
          </p:txBody>
        </p:sp>
      </p:grpSp>
      <p:pic>
        <p:nvPicPr>
          <p:cNvPr id="6" name="Grafik 5" descr="Trentino_black_920x250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7333920" y="1038525"/>
            <a:ext cx="1412876" cy="38393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37" hidden="1"/>
          <p:cNvGraphicFramePr>
            <a:graphicFrameLocks noChangeAspect="1"/>
          </p:cNvGraphicFramePr>
          <p:nvPr>
            <p:ph sz="quarter" idx="4294967295"/>
          </p:nvPr>
        </p:nvGraphicFramePr>
        <p:xfrm>
          <a:off x="0" y="1401763"/>
          <a:ext cx="9525" cy="9525"/>
        </p:xfrm>
        <a:graphic>
          <a:graphicData uri="http://schemas.openxmlformats.org/presentationml/2006/ole">
            <p:oleObj spid="_x0000_s456706" name="think-cell Slide" r:id="rId15" imgW="360" imgH="360" progId="">
              <p:embed/>
            </p:oleObj>
          </a:graphicData>
        </a:graphic>
      </p:graphicFrame>
      <p:sp>
        <p:nvSpPr>
          <p:cNvPr id="4101" name="Rectangle 28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99999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endParaRPr lang="de-DE" sz="1000"/>
          </a:p>
        </p:txBody>
      </p:sp>
      <p:sp>
        <p:nvSpPr>
          <p:cNvPr id="23" name="Rectangle 22"/>
          <p:cNvSpPr/>
          <p:nvPr>
            <p:custDataLst>
              <p:tags r:id="rId3"/>
            </p:custDataLst>
          </p:nvPr>
        </p:nvSpPr>
        <p:spPr bwMode="auto">
          <a:xfrm>
            <a:off x="4810297" y="4145962"/>
            <a:ext cx="3926224" cy="218952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02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>
              <a:tabLst>
                <a:tab pos="2238375" algn="l"/>
              </a:tabLst>
            </a:pPr>
            <a:r>
              <a:rPr lang="en-US" sz="1800" dirty="0" err="1" smtClean="0"/>
              <a:t>Trentino</a:t>
            </a:r>
            <a:r>
              <a:rPr lang="en-US" sz="1800" dirty="0" smtClean="0"/>
              <a:t> platform provides light-weight connectivity for distributed embedded systems up to enterprise IT</a:t>
            </a:r>
            <a:endParaRPr lang="en-US" sz="1600" b="0" i="1" dirty="0" smtClean="0">
              <a:solidFill>
                <a:srgbClr val="0000FF"/>
              </a:solidFill>
            </a:endParaRPr>
          </a:p>
        </p:txBody>
      </p:sp>
      <p:graphicFrame>
        <p:nvGraphicFramePr>
          <p:cNvPr id="109" name="Inhaltsplatzhalter 7"/>
          <p:cNvGraphicFramePr>
            <a:graphicFrameLocks noGrp="1"/>
          </p:cNvGraphicFramePr>
          <p:nvPr>
            <p:ph idx="4294967295"/>
            <p:custDataLst>
              <p:tags r:id="rId5"/>
            </p:custDataLst>
          </p:nvPr>
        </p:nvGraphicFramePr>
        <p:xfrm>
          <a:off x="4800617" y="4302579"/>
          <a:ext cx="3610885" cy="2288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pic>
        <p:nvPicPr>
          <p:cNvPr id="44" name="Grafik 43" descr="Trentino_black_920x250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 cstate="print"/>
          <a:stretch>
            <a:fillRect/>
          </a:stretch>
        </p:blipFill>
        <p:spPr>
          <a:xfrm>
            <a:off x="7333920" y="1038525"/>
            <a:ext cx="1412876" cy="383934"/>
          </a:xfrm>
          <a:prstGeom prst="rect">
            <a:avLst/>
          </a:prstGeom>
        </p:spPr>
      </p:pic>
      <p:sp>
        <p:nvSpPr>
          <p:cNvPr id="59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73880" y="1813944"/>
            <a:ext cx="4008394" cy="452154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/>
          <a:lstStyle/>
          <a:p>
            <a:pPr marL="174625" lvl="1" indent="-174625" algn="l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b="1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Standardized SOA-based integration from field devices up to execution systems &amp; enterprise IT</a:t>
            </a:r>
          </a:p>
          <a:p>
            <a:pPr marL="447675" lvl="2" indent="-174625" algn="l" eaLnBrk="0" hangingPunct="0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Application management 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(e.g. start/stop/update)</a:t>
            </a:r>
          </a:p>
          <a:p>
            <a:pPr marL="447675" lvl="2" indent="-174625" algn="l" eaLnBrk="0" hangingPunct="0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cs typeface="Arial" charset="0"/>
              </a:rPr>
              <a:t>S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ervice 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lifecycle management</a:t>
            </a:r>
          </a:p>
          <a:p>
            <a:pPr marL="447675" lvl="2" indent="-174625" algn="l" eaLnBrk="0" hangingPunct="0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cs typeface="Arial" charset="0"/>
              </a:rPr>
              <a:t>S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ervice 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discovery &amp; 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reusable common 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services</a:t>
            </a:r>
          </a:p>
          <a:p>
            <a:pPr marL="447675" lvl="2" indent="-174625" algn="l" eaLnBrk="0" hangingPunct="0">
              <a:spcBef>
                <a:spcPts val="2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cs typeface="Arial" charset="0"/>
              </a:rPr>
              <a:t>pluggable communication infrastructure</a:t>
            </a:r>
          </a:p>
          <a:p>
            <a:pPr marL="174625" lvl="1" indent="-174625" algn="l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Supports cloud-based solutions</a:t>
            </a:r>
          </a:p>
          <a:p>
            <a:pPr marL="174625" lvl="1" indent="-174625" algn="l" eaLnBrk="0" hangingPunct="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b="1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Implemented as Open </a:t>
            </a: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Source Software</a:t>
            </a:r>
            <a:br>
              <a:rPr lang="en-US" b="1" dirty="0" smtClean="0">
                <a:solidFill>
                  <a:srgbClr val="000000"/>
                </a:solidFill>
                <a:cs typeface="Arial" charset="0"/>
              </a:rPr>
            </a:br>
            <a:r>
              <a:rPr lang="en-US" dirty="0" smtClean="0">
                <a:solidFill>
                  <a:srgbClr val="000000"/>
                </a:solidFill>
                <a:cs typeface="Arial" charset="0"/>
                <a:hlinkClick r:id="rId22"/>
              </a:rPr>
              <a:t>http://trentino.sourceforge.net/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 </a:t>
            </a:r>
            <a:endParaRPr lang="en-US" dirty="0" smtClean="0">
              <a:solidFill>
                <a:srgbClr val="000000"/>
              </a:solidFill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174625" lvl="1" indent="-174625" algn="l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endParaRPr lang="en-US" b="1" dirty="0" smtClean="0">
              <a:solidFill>
                <a:srgbClr val="000000"/>
              </a:solidFill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174625" lvl="1" indent="-174625" algn="l" eaLnBrk="0" hangingPunct="0">
              <a:lnSpc>
                <a:spcPct val="110000"/>
              </a:lnSpc>
              <a:buClr>
                <a:schemeClr val="tx2"/>
              </a:buClr>
              <a:buFont typeface="Wingdings" pitchFamily="2" charset="2"/>
              <a:buChar char="§"/>
              <a:defRPr/>
            </a:pPr>
            <a:endParaRPr lang="en-US" b="1" dirty="0" smtClean="0">
              <a:solidFill>
                <a:srgbClr val="000000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02" name="Textfeld 101"/>
          <p:cNvSpPr txBox="1"/>
          <p:nvPr>
            <p:custDataLst>
              <p:tags r:id="rId8"/>
            </p:custDataLst>
          </p:nvPr>
        </p:nvSpPr>
        <p:spPr>
          <a:xfrm>
            <a:off x="573880" y="1536945"/>
            <a:ext cx="4008394" cy="276999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ctr"/>
          <a:lstStyle/>
          <a:p>
            <a:pPr algn="l"/>
            <a:r>
              <a:rPr lang="en-US" sz="1200" b="1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Features summary</a:t>
            </a:r>
            <a:endParaRPr lang="en-US" sz="1200" b="1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74" name="Grafik 73" descr="trentino_scope_in_pyramide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3" cstate="print"/>
          <a:stretch>
            <a:fillRect/>
          </a:stretch>
        </p:blipFill>
        <p:spPr>
          <a:xfrm>
            <a:off x="1103960" y="4176039"/>
            <a:ext cx="2670319" cy="2115691"/>
          </a:xfrm>
          <a:prstGeom prst="rect">
            <a:avLst/>
          </a:prstGeom>
        </p:spPr>
      </p:pic>
      <p:sp>
        <p:nvSpPr>
          <p:cNvPr id="104" name="Textfeld 103"/>
          <p:cNvSpPr txBox="1"/>
          <p:nvPr>
            <p:custDataLst>
              <p:tags r:id="rId10"/>
            </p:custDataLst>
          </p:nvPr>
        </p:nvSpPr>
        <p:spPr>
          <a:xfrm>
            <a:off x="4810297" y="1531610"/>
            <a:ext cx="3926224" cy="276999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ctr"/>
          <a:lstStyle/>
          <a:p>
            <a:pPr algn="l"/>
            <a:r>
              <a:rPr lang="en-US" sz="1200" b="1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rPr>
              <a:t>Status &amp; Next Steps</a:t>
            </a:r>
            <a:endParaRPr lang="en-US" sz="1200" b="1" dirty="0">
              <a:solidFill>
                <a:srgbClr val="000000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05" name="Rectangle 3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810296" y="1813944"/>
            <a:ext cx="3926225" cy="183335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/>
          <a:lstStyle/>
          <a:p>
            <a:pPr marL="1257300" lvl="1" indent="-1257300" algn="l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tabLst>
                <a:tab pos="449263" algn="l"/>
                <a:tab pos="1257300" algn="l"/>
              </a:tabLst>
              <a:defRPr/>
            </a:pPr>
            <a:r>
              <a:rPr lang="en-US" b="1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V0.1	08/2011	</a:t>
            </a:r>
            <a:r>
              <a:rPr lang="en-US" b="1" dirty="0" smtClean="0">
                <a:solidFill>
                  <a:srgbClr val="000000"/>
                </a:solidFill>
              </a:rPr>
              <a:t>initial research p</a:t>
            </a:r>
            <a:r>
              <a:rPr lang="en-US" b="1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rototype </a:t>
            </a:r>
          </a:p>
          <a:p>
            <a:pPr marL="1257300" lvl="1" indent="-1257300" algn="l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tabLst>
                <a:tab pos="449263" algn="l"/>
                <a:tab pos="1257300" algn="l"/>
              </a:tabLst>
              <a:defRPr/>
            </a:pPr>
            <a:r>
              <a:rPr lang="en-US" b="1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V0.2	09/2012	quality enhancement</a:t>
            </a:r>
          </a:p>
          <a:p>
            <a:pPr marL="1257300" lvl="1" indent="-1257300" algn="l" eaLnBrk="0" hangingPunct="0">
              <a:spcBef>
                <a:spcPts val="600"/>
              </a:spcBef>
              <a:buClr>
                <a:schemeClr val="tx2"/>
              </a:buClr>
              <a:tabLst>
                <a:tab pos="449263" algn="l"/>
                <a:tab pos="1257300" algn="l"/>
              </a:tabLst>
              <a:defRPr/>
            </a:pPr>
            <a:r>
              <a:rPr lang="en-US" b="1" dirty="0" smtClean="0">
                <a:solidFill>
                  <a:srgbClr val="000000"/>
                </a:solidFill>
              </a:rPr>
              <a:t>V0.7	05/2013	features for IC SG field proto-type (e.g. service life cycle mgmt.)</a:t>
            </a:r>
          </a:p>
          <a:p>
            <a:pPr marL="1257300" lvl="1" indent="-1257300" algn="l" eaLnBrk="0" hangingPunct="0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tabLst>
                <a:tab pos="449263" algn="l"/>
                <a:tab pos="1257300" algn="l"/>
              </a:tabLst>
              <a:defRPr/>
            </a:pPr>
            <a:r>
              <a:rPr lang="en-US" b="1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V0.8	09/2013 	extensions for IC BT and I IA SC prototypes, e.g. </a:t>
            </a:r>
            <a:r>
              <a:rPr lang="en-US" b="1" dirty="0" smtClean="0">
                <a:solidFill>
                  <a:srgbClr val="000000"/>
                </a:solidFill>
              </a:rPr>
              <a:t>versioning</a:t>
            </a:r>
          </a:p>
        </p:txBody>
      </p:sp>
      <p:sp>
        <p:nvSpPr>
          <p:cNvPr id="110" name="Textfeld 109"/>
          <p:cNvSpPr txBox="1"/>
          <p:nvPr>
            <p:custDataLst>
              <p:tags r:id="rId12"/>
            </p:custDataLst>
          </p:nvPr>
        </p:nvSpPr>
        <p:spPr>
          <a:xfrm>
            <a:off x="4801897" y="3868964"/>
            <a:ext cx="3934624" cy="276999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ctr"/>
          <a:lstStyle/>
          <a:p>
            <a:pPr algn="l"/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Roadmap</a:t>
            </a:r>
            <a:endParaRPr lang="en-US" sz="1200" b="1" dirty="0">
              <a:solidFill>
                <a:srgbClr val="000000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2" name="TextBox 21"/>
          <p:cNvSpPr txBox="1"/>
          <p:nvPr>
            <p:custDataLst>
              <p:tags r:id="rId13"/>
            </p:custDataLst>
          </p:nvPr>
        </p:nvSpPr>
        <p:spPr bwMode="gray">
          <a:xfrm>
            <a:off x="533425" y="6406101"/>
            <a:ext cx="208230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SOA = Service Oriented Architectur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rentino</a:t>
            </a:r>
            <a:r>
              <a:rPr lang="en-US" dirty="0" smtClean="0"/>
              <a:t> runtime features</a:t>
            </a:r>
            <a:endParaRPr lang="en-US" dirty="0"/>
          </a:p>
        </p:txBody>
      </p:sp>
      <p:grpSp>
        <p:nvGrpSpPr>
          <p:cNvPr id="3" name="Gruppieren 12"/>
          <p:cNvGrpSpPr/>
          <p:nvPr/>
        </p:nvGrpSpPr>
        <p:grpSpPr>
          <a:xfrm>
            <a:off x="899592" y="1412776"/>
            <a:ext cx="7776864" cy="4824536"/>
            <a:chOff x="899592" y="1412776"/>
            <a:chExt cx="7776864" cy="4824536"/>
          </a:xfrm>
        </p:grpSpPr>
        <p:graphicFrame>
          <p:nvGraphicFramePr>
            <p:cNvPr id="12" name="Diagramm 11"/>
            <p:cNvGraphicFramePr/>
            <p:nvPr/>
          </p:nvGraphicFramePr>
          <p:xfrm>
            <a:off x="899592" y="1412776"/>
            <a:ext cx="7776864" cy="482453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0" name="Flussdiagramm: Verbindungsstelle 9"/>
            <p:cNvSpPr/>
            <p:nvPr/>
          </p:nvSpPr>
          <p:spPr>
            <a:xfrm>
              <a:off x="4139952" y="3140968"/>
              <a:ext cx="1296144" cy="1224136"/>
            </a:xfrm>
            <a:prstGeom prst="flowChartConnector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Standard based </a:t>
              </a:r>
            </a:p>
            <a:p>
              <a:pPr algn="ctr"/>
              <a:r>
                <a:rPr lang="en-US" sz="1400" dirty="0" smtClean="0"/>
                <a:t>SOA Runtime</a:t>
              </a:r>
              <a:endParaRPr lang="en-US" sz="1400" dirty="0"/>
            </a:p>
          </p:txBody>
        </p:sp>
      </p:grpSp>
      <p:pic>
        <p:nvPicPr>
          <p:cNvPr id="6" name="Grafik 5" descr="Trentino_black_920x250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7333920" y="1038525"/>
            <a:ext cx="1412876" cy="38393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0&quot;/&gt;&lt;CPresentation id=&quot;1&quot;&gt;&lt;m_precDefaultNumber/&gt;&lt;m_precDefaultPercent/&gt;&lt;m_precDefaultDate/&gt;&lt;m_precDefaultYear/&gt;&lt;m_precDefaultQuarter&gt;&lt;m_strFormatTime&gt;Q%5&lt;/m_strFormatTime&gt;&lt;/m_precDefaultQuarter&gt;&lt;m_precDefaultMonth/&gt;&lt;m_precDefaultWeek&gt;&lt;m_strFormatTime&gt;%4&lt;/m_strFormatTime&gt;&lt;/m_precDefaultWeek&gt;&lt;m_precDefaultDay&gt;&lt;m_strFormatTime&gt;%#d&lt;/m_strFormatTime&gt;&lt;/m_precDefaultDay&gt;&lt;m_mruColor&gt;&lt;m_vecMRU length=&quot;5&quot;&gt;&lt;elem m_fUsage=&quot;3.91749713910000000000E+000&quot;&gt;&lt;m_ppcolschidx val=&quot;0&quot;/&gt;&lt;m_rgb r=&quot;ff&quot; g=&quot;b9&quot; b=&quot;0&quot;/&gt;&lt;m_nBrightness val=&quot;0&quot;/&gt;&lt;/elem&gt;&lt;elem m_fUsage=&quot;2.94439690000000010000E+000&quot;&gt;&lt;m_ppcolschidx val=&quot;0&quot;/&gt;&lt;m_rgb r=&quot;af&quot; g=&quot;23&quot; b=&quot;5f&quot;/&gt;&lt;m_nBrightness val=&quot;0&quot;/&gt;&lt;/elem&gt;&lt;elem m_fUsage=&quot;5.42578520639610100000E-001&quot;&gt;&lt;m_ppcolschidx val=&quot;0&quot;/&gt;&lt;m_rgb r=&quot;be&quot; g=&quot;cd&quot; b=&quot;d7&quot;/&gt;&lt;m_nBrightness val=&quot;0&quot;/&gt;&lt;/elem&gt;&lt;elem m_fUsage=&quot;2.82429536481000170000E-001&quot;&gt;&lt;m_ppcolschidx val=&quot;0&quot;/&gt;&lt;m_rgb r=&quot;87&quot; g=&quot;9b&quot; b=&quot;aa&quot;/&gt;&lt;m_nBrightness val=&quot;0&quot;/&gt;&lt;/elem&gt;&lt;elem m_fUsage=&quot;2.54186582832900130000E-001&quot;&gt;&lt;m_ppcolschidx val=&quot;0&quot;/&gt;&lt;m_rgb r=&quot;0&quot; g=&quot;64&quot; b=&quot;8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RTbZ5gEUK5lYPfFPr9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0az_1t2EK95YG_6vxv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w52WNiUas7B1NqpDn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sk4EEGSUqntXPz5_Vc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J8JvXWfUGFDbrP3MME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J8JvXWfUGFDbrP3MME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sk4EEGSUqntXPz5_Vc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Eo67Ts.066FSERn95Z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w52WNiUas7B1NqpDn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lI0Hvgfk2_B1_OK6By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RTbZ5gEUK5lYPfFPr9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J8JvXWfUGFDbrP3MME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HG8Sszf0Si4KqvoYHA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XH01cb402WEourFGai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2i49DWU0Gq_.Cih3BN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3JD6lwP0K.UnXk8G3_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SIRNZ500yMdnezfljWF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6LTJVZV0qTdr.Hhns7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5SOQZe2UaUjo56fwWn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J8JvXWfUGFDbrP3MME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RTbZ5gEUK5lYPfFPr9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WNUMFRyEyGwGf5BNiW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2e9F4EHk6rTPcr.lxy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CN4.vk00WwStZKHDAS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UrOG6jkKQEEx5bucZfA"/>
</p:tagLst>
</file>

<file path=ppt/theme/theme1.xml><?xml version="1.0" encoding="utf-8"?>
<a:theme xmlns:a="http://schemas.openxmlformats.org/drawingml/2006/main" name="CT_PPT_2007_4x3_EN_V1">
  <a:themeElements>
    <a:clrScheme name="Benutzerdefiniert 36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algn="ctr">
          <a:solidFill>
            <a:schemeClr val="accent1"/>
          </a:solidFill>
          <a:miter lim="800000"/>
          <a:headEnd/>
          <a:tailEnd/>
        </a:ln>
      </a:spPr>
      <a:bodyPr wrap="square" lIns="144018" tIns="72009" rIns="72009" bIns="72009" rtlCol="0" anchor="ctr">
        <a:no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gray">
        <a:noFill/>
        <a:ln>
          <a:noFill/>
        </a:ln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xmlns="" w="12700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0" tIns="0" rIns="0" bIns="0" rtlCol="0" anchor="t">
        <a:sp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T_PPT_2007_4x3_EN_V1</Template>
  <TotalTime>0</TotalTime>
  <Words>251</Words>
  <Application>Microsoft Office PowerPoint</Application>
  <PresentationFormat>Bildschirmpräsentation (4:3)</PresentationFormat>
  <Paragraphs>62</Paragraphs>
  <Slides>4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6" baseType="lpstr">
      <vt:lpstr>CT_PPT_2007_4x3_EN_V1</vt:lpstr>
      <vt:lpstr>think-cell Slide</vt:lpstr>
      <vt:lpstr>Trentino: platform for SOA based distributed embedded systems</vt:lpstr>
      <vt:lpstr>Trentino: platform for SOA based distributed embedded systems</vt:lpstr>
      <vt:lpstr>Trentino platform provides light-weight connectivity for distributed embedded systems up to enterprise IT</vt:lpstr>
      <vt:lpstr>Trentino runtime features</vt:lpstr>
    </vt:vector>
  </TitlesOfParts>
  <Company>Siemens AG</Company>
  <LinksUpToDate>false</LinksUpToDate>
  <SharedDoc>false</SharedDoc>
  <HyperlinkBase>www.siemens.com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Version 1 Arial Bold 40 pt.</dc:title>
  <dc:creator>Bernd Rosauer</dc:creator>
  <cp:lastModifiedBy>z002ttbb</cp:lastModifiedBy>
  <cp:revision>296</cp:revision>
  <dcterms:created xsi:type="dcterms:W3CDTF">2013-06-21T22:48:08Z</dcterms:created>
  <dcterms:modified xsi:type="dcterms:W3CDTF">2013-09-23T09:3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3</vt:lpwstr>
  </property>
  <property fmtid="{D5CDD505-2E9C-101B-9397-08002B2CF9AE}" pid="5" name="Release version">
    <vt:lpwstr>1,0</vt:lpwstr>
  </property>
  <property fmtid="{D5CDD505-2E9C-101B-9397-08002B2CF9AE}" pid="6" name="_NewReviewCycle">
    <vt:lpwstr/>
  </property>
  <property fmtid="{D5CDD505-2E9C-101B-9397-08002B2CF9AE}" pid="7" name="_AdHocReviewCycleID">
    <vt:i4>1113662789</vt:i4>
  </property>
  <property fmtid="{D5CDD505-2E9C-101B-9397-08002B2CF9AE}" pid="8" name="_EmailSubject">
    <vt:lpwstr>Draft of slide deck as of today</vt:lpwstr>
  </property>
  <property fmtid="{D5CDD505-2E9C-101B-9397-08002B2CF9AE}" pid="9" name="_AuthorEmail">
    <vt:lpwstr>Bernd.Rosauer@siemens.com</vt:lpwstr>
  </property>
  <property fmtid="{D5CDD505-2E9C-101B-9397-08002B2CF9AE}" pid="10" name="_AuthorEmailDisplayName">
    <vt:lpwstr>Rosauer, Bernd</vt:lpwstr>
  </property>
  <property fmtid="{D5CDD505-2E9C-101B-9397-08002B2CF9AE}" pid="11" name="_PreviousAdHocReviewCycleID">
    <vt:i4>-34882645</vt:i4>
  </property>
</Properties>
</file>